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4"/>
  </p:sldMasterIdLst>
  <p:notesMasterIdLst>
    <p:notesMasterId r:id="rId39"/>
  </p:notesMasterIdLst>
  <p:handoutMasterIdLst>
    <p:handoutMasterId r:id="rId40"/>
  </p:handoutMasterIdLst>
  <p:sldIdLst>
    <p:sldId id="301" r:id="rId5"/>
    <p:sldId id="1141" r:id="rId6"/>
    <p:sldId id="1143" r:id="rId7"/>
    <p:sldId id="302" r:id="rId8"/>
    <p:sldId id="465" r:id="rId9"/>
    <p:sldId id="466" r:id="rId10"/>
    <p:sldId id="2227" r:id="rId11"/>
    <p:sldId id="467" r:id="rId12"/>
    <p:sldId id="1146" r:id="rId13"/>
    <p:sldId id="1123" r:id="rId14"/>
    <p:sldId id="265" r:id="rId15"/>
    <p:sldId id="300" r:id="rId16"/>
    <p:sldId id="1147" r:id="rId17"/>
    <p:sldId id="1149" r:id="rId18"/>
    <p:sldId id="1124" r:id="rId19"/>
    <p:sldId id="1137" r:id="rId20"/>
    <p:sldId id="2228" r:id="rId21"/>
    <p:sldId id="1151" r:id="rId22"/>
    <p:sldId id="1150" r:id="rId23"/>
    <p:sldId id="1125" r:id="rId24"/>
    <p:sldId id="307" r:id="rId25"/>
    <p:sldId id="296" r:id="rId26"/>
    <p:sldId id="321" r:id="rId27"/>
    <p:sldId id="2195" r:id="rId28"/>
    <p:sldId id="2230" r:id="rId29"/>
    <p:sldId id="2229" r:id="rId30"/>
    <p:sldId id="2231" r:id="rId31"/>
    <p:sldId id="1138" r:id="rId32"/>
    <p:sldId id="2232" r:id="rId33"/>
    <p:sldId id="2233" r:id="rId34"/>
    <p:sldId id="1134" r:id="rId35"/>
    <p:sldId id="2235" r:id="rId36"/>
    <p:sldId id="2234" r:id="rId37"/>
    <p:sldId id="274" r:id="rId38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0ED313C-09EB-61AF-3A1B-285AFE40D345}" name="Hays - Verheij, Liske" initials="HL" userId="S::lhays@redcross.nl::fa2a9ca4-e5c6-45e9-ac40-6c42b18cace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nmaat, Anouk" initials="JA" lastIdx="6" clrIdx="0">
    <p:extLst>
      <p:ext uri="{19B8F6BF-5375-455C-9EA6-DF929625EA0E}">
        <p15:presenceInfo xmlns:p15="http://schemas.microsoft.com/office/powerpoint/2012/main" userId="S::AJanmaat@redcross.nl::feeaa837-86eb-4338-8665-0dab9296565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D281F"/>
    <a:srgbClr val="66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F69AF42-8272-4DD0-8DDF-6C427CEE1F4D}" v="1038" dt="2023-10-09T12:02:43.10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52" autoAdjust="0"/>
    <p:restoredTop sz="82687" autoAdjust="0"/>
  </p:normalViewPr>
  <p:slideViewPr>
    <p:cSldViewPr snapToGrid="0">
      <p:cViewPr varScale="1">
        <p:scale>
          <a:sx n="67" d="100"/>
          <a:sy n="67" d="100"/>
        </p:scale>
        <p:origin x="121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47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Relationship Id="rId48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ronk, Carolien" userId="0d88beb2-f397-4226-8868-aeeb6f0bba43" providerId="ADAL" clId="{CF69AF42-8272-4DD0-8DDF-6C427CEE1F4D}"/>
    <pc:docChg chg="undo custSel addSld delSld modSld">
      <pc:chgData name="Pronk, Carolien" userId="0d88beb2-f397-4226-8868-aeeb6f0bba43" providerId="ADAL" clId="{CF69AF42-8272-4DD0-8DDF-6C427CEE1F4D}" dt="2023-10-11T14:38:05.627" v="21713" actId="20577"/>
      <pc:docMkLst>
        <pc:docMk/>
      </pc:docMkLst>
      <pc:sldChg chg="modSp mod">
        <pc:chgData name="Pronk, Carolien" userId="0d88beb2-f397-4226-8868-aeeb6f0bba43" providerId="ADAL" clId="{CF69AF42-8272-4DD0-8DDF-6C427CEE1F4D}" dt="2023-10-09T09:41:53.600" v="17195" actId="20577"/>
        <pc:sldMkLst>
          <pc:docMk/>
          <pc:sldMk cId="4164930676" sldId="265"/>
        </pc:sldMkLst>
        <pc:spChg chg="mod">
          <ac:chgData name="Pronk, Carolien" userId="0d88beb2-f397-4226-8868-aeeb6f0bba43" providerId="ADAL" clId="{CF69AF42-8272-4DD0-8DDF-6C427CEE1F4D}" dt="2023-10-09T09:41:53.600" v="17195" actId="20577"/>
          <ac:spMkLst>
            <pc:docMk/>
            <pc:sldMk cId="4164930676" sldId="265"/>
            <ac:spMk id="4" creationId="{00000000-0000-0000-0000-000000000000}"/>
          </ac:spMkLst>
        </pc:spChg>
        <pc:spChg chg="mod">
          <ac:chgData name="Pronk, Carolien" userId="0d88beb2-f397-4226-8868-aeeb6f0bba43" providerId="ADAL" clId="{CF69AF42-8272-4DD0-8DDF-6C427CEE1F4D}" dt="2023-10-09T07:02:09.597" v="15090" actId="20577"/>
          <ac:spMkLst>
            <pc:docMk/>
            <pc:sldMk cId="4164930676" sldId="265"/>
            <ac:spMk id="5" creationId="{00000000-0000-0000-0000-000000000000}"/>
          </ac:spMkLst>
        </pc:spChg>
      </pc:sldChg>
      <pc:sldChg chg="modSp mod">
        <pc:chgData name="Pronk, Carolien" userId="0d88beb2-f397-4226-8868-aeeb6f0bba43" providerId="ADAL" clId="{CF69AF42-8272-4DD0-8DDF-6C427CEE1F4D}" dt="2023-10-09T12:02:30.879" v="20527" actId="6549"/>
        <pc:sldMkLst>
          <pc:docMk/>
          <pc:sldMk cId="836115637" sldId="274"/>
        </pc:sldMkLst>
        <pc:spChg chg="mod">
          <ac:chgData name="Pronk, Carolien" userId="0d88beb2-f397-4226-8868-aeeb6f0bba43" providerId="ADAL" clId="{CF69AF42-8272-4DD0-8DDF-6C427CEE1F4D}" dt="2023-10-09T12:02:30.879" v="20527" actId="6549"/>
          <ac:spMkLst>
            <pc:docMk/>
            <pc:sldMk cId="836115637" sldId="274"/>
            <ac:spMk id="7" creationId="{00000000-0000-0000-0000-000000000000}"/>
          </ac:spMkLst>
        </pc:spChg>
      </pc:sldChg>
      <pc:sldChg chg="modSp mod">
        <pc:chgData name="Pronk, Carolien" userId="0d88beb2-f397-4226-8868-aeeb6f0bba43" providerId="ADAL" clId="{CF69AF42-8272-4DD0-8DDF-6C427CEE1F4D}" dt="2023-10-09T09:10:31.187" v="16332" actId="2711"/>
        <pc:sldMkLst>
          <pc:docMk/>
          <pc:sldMk cId="4159396837" sldId="296"/>
        </pc:sldMkLst>
        <pc:spChg chg="mod">
          <ac:chgData name="Pronk, Carolien" userId="0d88beb2-f397-4226-8868-aeeb6f0bba43" providerId="ADAL" clId="{CF69AF42-8272-4DD0-8DDF-6C427CEE1F4D}" dt="2023-10-09T09:10:31.187" v="16332" actId="2711"/>
          <ac:spMkLst>
            <pc:docMk/>
            <pc:sldMk cId="4159396837" sldId="296"/>
            <ac:spMk id="6" creationId="{00000000-0000-0000-0000-000000000000}"/>
          </ac:spMkLst>
        </pc:spChg>
        <pc:spChg chg="mod">
          <ac:chgData name="Pronk, Carolien" userId="0d88beb2-f397-4226-8868-aeeb6f0bba43" providerId="ADAL" clId="{CF69AF42-8272-4DD0-8DDF-6C427CEE1F4D}" dt="2023-10-09T09:08:46.749" v="16327" actId="14100"/>
          <ac:spMkLst>
            <pc:docMk/>
            <pc:sldMk cId="4159396837" sldId="296"/>
            <ac:spMk id="7" creationId="{00000000-0000-0000-0000-000000000000}"/>
          </ac:spMkLst>
        </pc:spChg>
      </pc:sldChg>
      <pc:sldChg chg="modSp mod">
        <pc:chgData name="Pronk, Carolien" userId="0d88beb2-f397-4226-8868-aeeb6f0bba43" providerId="ADAL" clId="{CF69AF42-8272-4DD0-8DDF-6C427CEE1F4D}" dt="2023-10-09T07:03:41.247" v="15282" actId="14100"/>
        <pc:sldMkLst>
          <pc:docMk/>
          <pc:sldMk cId="580278425" sldId="300"/>
        </pc:sldMkLst>
        <pc:spChg chg="mod">
          <ac:chgData name="Pronk, Carolien" userId="0d88beb2-f397-4226-8868-aeeb6f0bba43" providerId="ADAL" clId="{CF69AF42-8272-4DD0-8DDF-6C427CEE1F4D}" dt="2023-10-09T07:03:41.247" v="15282" actId="14100"/>
          <ac:spMkLst>
            <pc:docMk/>
            <pc:sldMk cId="580278425" sldId="300"/>
            <ac:spMk id="6" creationId="{EA72B78F-9C92-407B-8C2D-209129DD1F89}"/>
          </ac:spMkLst>
        </pc:spChg>
        <pc:spChg chg="mod">
          <ac:chgData name="Pronk, Carolien" userId="0d88beb2-f397-4226-8868-aeeb6f0bba43" providerId="ADAL" clId="{CF69AF42-8272-4DD0-8DDF-6C427CEE1F4D}" dt="2023-10-08T20:34:29.566" v="9411"/>
          <ac:spMkLst>
            <pc:docMk/>
            <pc:sldMk cId="580278425" sldId="300"/>
            <ac:spMk id="7" creationId="{E8CEC1BF-5E72-47DE-8BED-A1D877506718}"/>
          </ac:spMkLst>
        </pc:spChg>
      </pc:sldChg>
      <pc:sldChg chg="addSp delSp modSp mod">
        <pc:chgData name="Pronk, Carolien" userId="0d88beb2-f397-4226-8868-aeeb6f0bba43" providerId="ADAL" clId="{CF69AF42-8272-4DD0-8DDF-6C427CEE1F4D}" dt="2023-10-08T19:46:17.914" v="4830" actId="14100"/>
        <pc:sldMkLst>
          <pc:docMk/>
          <pc:sldMk cId="731009498" sldId="301"/>
        </pc:sldMkLst>
        <pc:spChg chg="add mod">
          <ac:chgData name="Pronk, Carolien" userId="0d88beb2-f397-4226-8868-aeeb6f0bba43" providerId="ADAL" clId="{CF69AF42-8272-4DD0-8DDF-6C427CEE1F4D}" dt="2023-10-08T19:33:50.470" v="4346" actId="5793"/>
          <ac:spMkLst>
            <pc:docMk/>
            <pc:sldMk cId="731009498" sldId="301"/>
            <ac:spMk id="2" creationId="{3B392C90-8E20-E716-712C-839CC09DA552}"/>
          </ac:spMkLst>
        </pc:spChg>
        <pc:spChg chg="mod">
          <ac:chgData name="Pronk, Carolien" userId="0d88beb2-f397-4226-8868-aeeb6f0bba43" providerId="ADAL" clId="{CF69AF42-8272-4DD0-8DDF-6C427CEE1F4D}" dt="2023-10-08T19:33:21.638" v="4326" actId="20577"/>
          <ac:spMkLst>
            <pc:docMk/>
            <pc:sldMk cId="731009498" sldId="301"/>
            <ac:spMk id="12" creationId="{12E50B91-123B-D628-3648-287C52E641A2}"/>
          </ac:spMkLst>
        </pc:spChg>
        <pc:spChg chg="mod">
          <ac:chgData name="Pronk, Carolien" userId="0d88beb2-f397-4226-8868-aeeb6f0bba43" providerId="ADAL" clId="{CF69AF42-8272-4DD0-8DDF-6C427CEE1F4D}" dt="2023-10-08T19:33:41.040" v="4329" actId="113"/>
          <ac:spMkLst>
            <pc:docMk/>
            <pc:sldMk cId="731009498" sldId="301"/>
            <ac:spMk id="13" creationId="{0C7681E3-5D7B-1DDB-1974-641F60D7802E}"/>
          </ac:spMkLst>
        </pc:spChg>
        <pc:picChg chg="add mod ord">
          <ac:chgData name="Pronk, Carolien" userId="0d88beb2-f397-4226-8868-aeeb6f0bba43" providerId="ADAL" clId="{CF69AF42-8272-4DD0-8DDF-6C427CEE1F4D}" dt="2023-10-08T19:46:17.914" v="4830" actId="14100"/>
          <ac:picMkLst>
            <pc:docMk/>
            <pc:sldMk cId="731009498" sldId="301"/>
            <ac:picMk id="5" creationId="{6F6BFF7D-47E6-4F89-98C6-D8A1DB1DE543}"/>
          </ac:picMkLst>
        </pc:picChg>
        <pc:picChg chg="del">
          <ac:chgData name="Pronk, Carolien" userId="0d88beb2-f397-4226-8868-aeeb6f0bba43" providerId="ADAL" clId="{CF69AF42-8272-4DD0-8DDF-6C427CEE1F4D}" dt="2023-10-08T19:32:56.492" v="4295" actId="478"/>
          <ac:picMkLst>
            <pc:docMk/>
            <pc:sldMk cId="731009498" sldId="301"/>
            <ac:picMk id="9" creationId="{BF8FEB06-FCC1-6549-796B-4B89E850F501}"/>
          </ac:picMkLst>
        </pc:picChg>
      </pc:sldChg>
      <pc:sldChg chg="addSp delSp modSp mod modNotesTx">
        <pc:chgData name="Pronk, Carolien" userId="0d88beb2-f397-4226-8868-aeeb6f0bba43" providerId="ADAL" clId="{CF69AF42-8272-4DD0-8DDF-6C427CEE1F4D}" dt="2023-10-08T19:12:02.424" v="1407" actId="5793"/>
        <pc:sldMkLst>
          <pc:docMk/>
          <pc:sldMk cId="3381065237" sldId="302"/>
        </pc:sldMkLst>
        <pc:spChg chg="mod">
          <ac:chgData name="Pronk, Carolien" userId="0d88beb2-f397-4226-8868-aeeb6f0bba43" providerId="ADAL" clId="{CF69AF42-8272-4DD0-8DDF-6C427CEE1F4D}" dt="2023-10-08T19:11:57.488" v="1406" actId="14100"/>
          <ac:spMkLst>
            <pc:docMk/>
            <pc:sldMk cId="3381065237" sldId="302"/>
            <ac:spMk id="6" creationId="{DD32947A-114F-E8D8-172E-1286BF937815}"/>
          </ac:spMkLst>
        </pc:spChg>
        <pc:picChg chg="add mod ord">
          <ac:chgData name="Pronk, Carolien" userId="0d88beb2-f397-4226-8868-aeeb6f0bba43" providerId="ADAL" clId="{CF69AF42-8272-4DD0-8DDF-6C427CEE1F4D}" dt="2023-10-08T19:11:44.321" v="1404" actId="14100"/>
          <ac:picMkLst>
            <pc:docMk/>
            <pc:sldMk cId="3381065237" sldId="302"/>
            <ac:picMk id="4" creationId="{9D33587E-B574-9B09-5222-8B466D6FF94A}"/>
          </ac:picMkLst>
        </pc:picChg>
        <pc:picChg chg="del">
          <ac:chgData name="Pronk, Carolien" userId="0d88beb2-f397-4226-8868-aeeb6f0bba43" providerId="ADAL" clId="{CF69AF42-8272-4DD0-8DDF-6C427CEE1F4D}" dt="2023-10-08T19:11:08.824" v="1400" actId="478"/>
          <ac:picMkLst>
            <pc:docMk/>
            <pc:sldMk cId="3381065237" sldId="302"/>
            <ac:picMk id="5" creationId="{2177EA49-1179-DC9E-83DD-CEF75D8CC4BE}"/>
          </ac:picMkLst>
        </pc:picChg>
      </pc:sldChg>
      <pc:sldChg chg="addSp delSp modSp mod modNotesTx">
        <pc:chgData name="Pronk, Carolien" userId="0d88beb2-f397-4226-8868-aeeb6f0bba43" providerId="ADAL" clId="{CF69AF42-8272-4DD0-8DDF-6C427CEE1F4D}" dt="2023-10-09T09:06:49.653" v="16169" actId="207"/>
        <pc:sldMkLst>
          <pc:docMk/>
          <pc:sldMk cId="595413031" sldId="307"/>
        </pc:sldMkLst>
        <pc:spChg chg="add del mod">
          <ac:chgData name="Pronk, Carolien" userId="0d88beb2-f397-4226-8868-aeeb6f0bba43" providerId="ADAL" clId="{CF69AF42-8272-4DD0-8DDF-6C427CEE1F4D}" dt="2023-10-09T06:59:00.136" v="14768" actId="478"/>
          <ac:spMkLst>
            <pc:docMk/>
            <pc:sldMk cId="595413031" sldId="307"/>
            <ac:spMk id="2" creationId="{58B7880D-34E1-E116-FAB1-520D17E6263A}"/>
          </ac:spMkLst>
        </pc:spChg>
        <pc:spChg chg="mod">
          <ac:chgData name="Pronk, Carolien" userId="0d88beb2-f397-4226-8868-aeeb6f0bba43" providerId="ADAL" clId="{CF69AF42-8272-4DD0-8DDF-6C427CEE1F4D}" dt="2023-10-09T09:06:49.653" v="16169" actId="207"/>
          <ac:spMkLst>
            <pc:docMk/>
            <pc:sldMk cId="595413031" sldId="307"/>
            <ac:spMk id="3" creationId="{B52235C6-C750-29AB-9DE5-232B54FA2293}"/>
          </ac:spMkLst>
        </pc:spChg>
        <pc:spChg chg="mod">
          <ac:chgData name="Pronk, Carolien" userId="0d88beb2-f397-4226-8868-aeeb6f0bba43" providerId="ADAL" clId="{CF69AF42-8272-4DD0-8DDF-6C427CEE1F4D}" dt="2023-10-09T09:04:50.604" v="15845" actId="1076"/>
          <ac:spMkLst>
            <pc:docMk/>
            <pc:sldMk cId="595413031" sldId="307"/>
            <ac:spMk id="8" creationId="{00000000-0000-0000-0000-000000000000}"/>
          </ac:spMkLst>
        </pc:spChg>
        <pc:spChg chg="mod">
          <ac:chgData name="Pronk, Carolien" userId="0d88beb2-f397-4226-8868-aeeb6f0bba43" providerId="ADAL" clId="{CF69AF42-8272-4DD0-8DDF-6C427CEE1F4D}" dt="2023-10-09T09:06:41.493" v="16165" actId="404"/>
          <ac:spMkLst>
            <pc:docMk/>
            <pc:sldMk cId="595413031" sldId="307"/>
            <ac:spMk id="9" creationId="{00000000-0000-0000-0000-000000000000}"/>
          </ac:spMkLst>
        </pc:spChg>
        <pc:picChg chg="mod modCrop">
          <ac:chgData name="Pronk, Carolien" userId="0d88beb2-f397-4226-8868-aeeb6f0bba43" providerId="ADAL" clId="{CF69AF42-8272-4DD0-8DDF-6C427CEE1F4D}" dt="2023-10-09T07:01:36.285" v="15068" actId="1076"/>
          <ac:picMkLst>
            <pc:docMk/>
            <pc:sldMk cId="595413031" sldId="307"/>
            <ac:picMk id="6" creationId="{878186F4-53A2-33B1-A649-1C3CAC7A4FF3}"/>
          </ac:picMkLst>
        </pc:picChg>
      </pc:sldChg>
      <pc:sldChg chg="modSp mod">
        <pc:chgData name="Pronk, Carolien" userId="0d88beb2-f397-4226-8868-aeeb6f0bba43" providerId="ADAL" clId="{CF69AF42-8272-4DD0-8DDF-6C427CEE1F4D}" dt="2023-10-09T09:40:57.454" v="17098" actId="20577"/>
        <pc:sldMkLst>
          <pc:docMk/>
          <pc:sldMk cId="3816556605" sldId="321"/>
        </pc:sldMkLst>
        <pc:spChg chg="mod">
          <ac:chgData name="Pronk, Carolien" userId="0d88beb2-f397-4226-8868-aeeb6f0bba43" providerId="ADAL" clId="{CF69AF42-8272-4DD0-8DDF-6C427CEE1F4D}" dt="2023-10-09T09:17:00.390" v="16343" actId="2711"/>
          <ac:spMkLst>
            <pc:docMk/>
            <pc:sldMk cId="3816556605" sldId="321"/>
            <ac:spMk id="5" creationId="{C89D30BC-A079-B681-B7AE-2BEE7D5C9DEE}"/>
          </ac:spMkLst>
        </pc:spChg>
        <pc:graphicFrameChg chg="mod modGraphic">
          <ac:chgData name="Pronk, Carolien" userId="0d88beb2-f397-4226-8868-aeeb6f0bba43" providerId="ADAL" clId="{CF69AF42-8272-4DD0-8DDF-6C427CEE1F4D}" dt="2023-10-09T09:40:57.454" v="17098" actId="20577"/>
          <ac:graphicFrameMkLst>
            <pc:docMk/>
            <pc:sldMk cId="3816556605" sldId="321"/>
            <ac:graphicFrameMk id="9" creationId="{AD1E0B22-48B0-7E4C-B0D6-A7E0F7DDBD75}"/>
          </ac:graphicFrameMkLst>
        </pc:graphicFrameChg>
      </pc:sldChg>
      <pc:sldChg chg="modSp mod modNotesTx">
        <pc:chgData name="Pronk, Carolien" userId="0d88beb2-f397-4226-8868-aeeb6f0bba43" providerId="ADAL" clId="{CF69AF42-8272-4DD0-8DDF-6C427CEE1F4D}" dt="2023-10-08T19:14:31.309" v="1881" actId="6549"/>
        <pc:sldMkLst>
          <pc:docMk/>
          <pc:sldMk cId="356876943" sldId="465"/>
        </pc:sldMkLst>
        <pc:spChg chg="mod">
          <ac:chgData name="Pronk, Carolien" userId="0d88beb2-f397-4226-8868-aeeb6f0bba43" providerId="ADAL" clId="{CF69AF42-8272-4DD0-8DDF-6C427CEE1F4D}" dt="2023-10-08T19:13:33.429" v="1698" actId="20577"/>
          <ac:spMkLst>
            <pc:docMk/>
            <pc:sldMk cId="356876943" sldId="465"/>
            <ac:spMk id="4" creationId="{0E4C4836-8694-43BF-ADBB-0F24BAA3DED8}"/>
          </ac:spMkLst>
        </pc:spChg>
        <pc:spChg chg="mod">
          <ac:chgData name="Pronk, Carolien" userId="0d88beb2-f397-4226-8868-aeeb6f0bba43" providerId="ADAL" clId="{CF69AF42-8272-4DD0-8DDF-6C427CEE1F4D}" dt="2023-10-08T19:14:04.118" v="1830" actId="20577"/>
          <ac:spMkLst>
            <pc:docMk/>
            <pc:sldMk cId="356876943" sldId="465"/>
            <ac:spMk id="5" creationId="{E4320200-6200-622C-A158-C60333CC04BB}"/>
          </ac:spMkLst>
        </pc:spChg>
      </pc:sldChg>
      <pc:sldChg chg="addSp delSp modSp add del mod modClrScheme chgLayout modNotesTx">
        <pc:chgData name="Pronk, Carolien" userId="0d88beb2-f397-4226-8868-aeeb6f0bba43" providerId="ADAL" clId="{CF69AF42-8272-4DD0-8DDF-6C427CEE1F4D}" dt="2023-10-09T06:36:26.587" v="13068" actId="6549"/>
        <pc:sldMkLst>
          <pc:docMk/>
          <pc:sldMk cId="4169278084" sldId="466"/>
        </pc:sldMkLst>
        <pc:spChg chg="mod ord">
          <ac:chgData name="Pronk, Carolien" userId="0d88beb2-f397-4226-8868-aeeb6f0bba43" providerId="ADAL" clId="{CF69AF42-8272-4DD0-8DDF-6C427CEE1F4D}" dt="2023-10-08T19:46:33.615" v="4833" actId="26606"/>
          <ac:spMkLst>
            <pc:docMk/>
            <pc:sldMk cId="4169278084" sldId="466"/>
            <ac:spMk id="2" creationId="{EF316567-0257-C792-B014-9963ED4FDB6F}"/>
          </ac:spMkLst>
        </pc:spChg>
        <pc:spChg chg="add mod ord">
          <ac:chgData name="Pronk, Carolien" userId="0d88beb2-f397-4226-8868-aeeb6f0bba43" providerId="ADAL" clId="{CF69AF42-8272-4DD0-8DDF-6C427CEE1F4D}" dt="2023-10-09T06:36:26.587" v="13068" actId="6549"/>
          <ac:spMkLst>
            <pc:docMk/>
            <pc:sldMk cId="4169278084" sldId="466"/>
            <ac:spMk id="3" creationId="{237B058C-C3B0-3A96-F594-D55645AECB2D}"/>
          </ac:spMkLst>
        </pc:spChg>
        <pc:spChg chg="add del mod">
          <ac:chgData name="Pronk, Carolien" userId="0d88beb2-f397-4226-8868-aeeb6f0bba43" providerId="ADAL" clId="{CF69AF42-8272-4DD0-8DDF-6C427CEE1F4D}" dt="2023-10-08T19:46:33.615" v="4833" actId="26606"/>
          <ac:spMkLst>
            <pc:docMk/>
            <pc:sldMk cId="4169278084" sldId="466"/>
            <ac:spMk id="10" creationId="{F12C378F-5BC9-D5CB-DD8A-0653F11A449F}"/>
          </ac:spMkLst>
        </pc:spChg>
        <pc:picChg chg="del">
          <ac:chgData name="Pronk, Carolien" userId="0d88beb2-f397-4226-8868-aeeb6f0bba43" providerId="ADAL" clId="{CF69AF42-8272-4DD0-8DDF-6C427CEE1F4D}" dt="2023-10-08T19:14:40.691" v="1882" actId="478"/>
          <ac:picMkLst>
            <pc:docMk/>
            <pc:sldMk cId="4169278084" sldId="466"/>
            <ac:picMk id="4" creationId="{BE032BF1-58D3-9D0A-1E64-28B9AB0E27F3}"/>
          </ac:picMkLst>
        </pc:picChg>
        <pc:picChg chg="add mod ord">
          <ac:chgData name="Pronk, Carolien" userId="0d88beb2-f397-4226-8868-aeeb6f0bba43" providerId="ADAL" clId="{CF69AF42-8272-4DD0-8DDF-6C427CEE1F4D}" dt="2023-10-08T19:46:36.146" v="4834" actId="167"/>
          <ac:picMkLst>
            <pc:docMk/>
            <pc:sldMk cId="4169278084" sldId="466"/>
            <ac:picMk id="5" creationId="{17E2C2B7-A920-5E5E-31EE-5319B46A29A6}"/>
          </ac:picMkLst>
        </pc:picChg>
      </pc:sldChg>
      <pc:sldChg chg="modSp mod">
        <pc:chgData name="Pronk, Carolien" userId="0d88beb2-f397-4226-8868-aeeb6f0bba43" providerId="ADAL" clId="{CF69AF42-8272-4DD0-8DDF-6C427CEE1F4D}" dt="2023-10-08T19:22:08.844" v="3345" actId="14100"/>
        <pc:sldMkLst>
          <pc:docMk/>
          <pc:sldMk cId="2740758752" sldId="467"/>
        </pc:sldMkLst>
        <pc:spChg chg="mod">
          <ac:chgData name="Pronk, Carolien" userId="0d88beb2-f397-4226-8868-aeeb6f0bba43" providerId="ADAL" clId="{CF69AF42-8272-4DD0-8DDF-6C427CEE1F4D}" dt="2023-10-08T19:15:21.530" v="1904" actId="20577"/>
          <ac:spMkLst>
            <pc:docMk/>
            <pc:sldMk cId="2740758752" sldId="467"/>
            <ac:spMk id="2" creationId="{8C13063E-32A1-AA0C-55A6-C405F99567E9}"/>
          </ac:spMkLst>
        </pc:spChg>
        <pc:spChg chg="mod">
          <ac:chgData name="Pronk, Carolien" userId="0d88beb2-f397-4226-8868-aeeb6f0bba43" providerId="ADAL" clId="{CF69AF42-8272-4DD0-8DDF-6C427CEE1F4D}" dt="2023-10-08T19:21:49.385" v="3341" actId="14100"/>
          <ac:spMkLst>
            <pc:docMk/>
            <pc:sldMk cId="2740758752" sldId="467"/>
            <ac:spMk id="3" creationId="{F8053592-0408-B849-E905-7ACBF8C51983}"/>
          </ac:spMkLst>
        </pc:spChg>
        <pc:spChg chg="mod">
          <ac:chgData name="Pronk, Carolien" userId="0d88beb2-f397-4226-8868-aeeb6f0bba43" providerId="ADAL" clId="{CF69AF42-8272-4DD0-8DDF-6C427CEE1F4D}" dt="2023-10-08T19:18:04.884" v="2466" actId="20577"/>
          <ac:spMkLst>
            <pc:docMk/>
            <pc:sldMk cId="2740758752" sldId="467"/>
            <ac:spMk id="5" creationId="{718DE016-26F3-75F1-5C5A-E14F6B06D88D}"/>
          </ac:spMkLst>
        </pc:spChg>
        <pc:spChg chg="mod">
          <ac:chgData name="Pronk, Carolien" userId="0d88beb2-f397-4226-8868-aeeb6f0bba43" providerId="ADAL" clId="{CF69AF42-8272-4DD0-8DDF-6C427CEE1F4D}" dt="2023-10-08T19:22:01.956" v="3343" actId="1076"/>
          <ac:spMkLst>
            <pc:docMk/>
            <pc:sldMk cId="2740758752" sldId="467"/>
            <ac:spMk id="6" creationId="{71130A8E-E7AD-5804-A274-2E0AC1A4987E}"/>
          </ac:spMkLst>
        </pc:spChg>
        <pc:picChg chg="mod">
          <ac:chgData name="Pronk, Carolien" userId="0d88beb2-f397-4226-8868-aeeb6f0bba43" providerId="ADAL" clId="{CF69AF42-8272-4DD0-8DDF-6C427CEE1F4D}" dt="2023-10-08T19:21:35.968" v="3336" actId="14100"/>
          <ac:picMkLst>
            <pc:docMk/>
            <pc:sldMk cId="2740758752" sldId="467"/>
            <ac:picMk id="1026" creationId="{DB72908E-DA24-1CC2-61CD-EAE91B355D29}"/>
          </ac:picMkLst>
        </pc:picChg>
        <pc:picChg chg="mod">
          <ac:chgData name="Pronk, Carolien" userId="0d88beb2-f397-4226-8868-aeeb6f0bba43" providerId="ADAL" clId="{CF69AF42-8272-4DD0-8DDF-6C427CEE1F4D}" dt="2023-10-08T19:22:08.844" v="3345" actId="14100"/>
          <ac:picMkLst>
            <pc:docMk/>
            <pc:sldMk cId="2740758752" sldId="467"/>
            <ac:picMk id="1028" creationId="{73D11478-B15C-7298-A712-E5E600279AAE}"/>
          </ac:picMkLst>
        </pc:picChg>
      </pc:sldChg>
      <pc:sldChg chg="modSp mod">
        <pc:chgData name="Pronk, Carolien" userId="0d88beb2-f397-4226-8868-aeeb6f0bba43" providerId="ADAL" clId="{CF69AF42-8272-4DD0-8DDF-6C427CEE1F4D}" dt="2023-10-08T20:39:49.222" v="9734" actId="1076"/>
        <pc:sldMkLst>
          <pc:docMk/>
          <pc:sldMk cId="958886000" sldId="1123"/>
        </pc:sldMkLst>
        <pc:spChg chg="mod">
          <ac:chgData name="Pronk, Carolien" userId="0d88beb2-f397-4226-8868-aeeb6f0bba43" providerId="ADAL" clId="{CF69AF42-8272-4DD0-8DDF-6C427CEE1F4D}" dt="2023-10-08T20:39:49.222" v="9734" actId="1076"/>
          <ac:spMkLst>
            <pc:docMk/>
            <pc:sldMk cId="958886000" sldId="1123"/>
            <ac:spMk id="3" creationId="{DE37623F-2365-4B29-BA36-897CBE17F2AA}"/>
          </ac:spMkLst>
        </pc:spChg>
        <pc:spChg chg="mod">
          <ac:chgData name="Pronk, Carolien" userId="0d88beb2-f397-4226-8868-aeeb6f0bba43" providerId="ADAL" clId="{CF69AF42-8272-4DD0-8DDF-6C427CEE1F4D}" dt="2023-10-08T19:29:01.922" v="3817" actId="6549"/>
          <ac:spMkLst>
            <pc:docMk/>
            <pc:sldMk cId="958886000" sldId="1123"/>
            <ac:spMk id="10" creationId="{DC2BE78F-6F4B-4F04-B8F2-8AFA02768335}"/>
          </ac:spMkLst>
        </pc:spChg>
        <pc:spChg chg="mod">
          <ac:chgData name="Pronk, Carolien" userId="0d88beb2-f397-4226-8868-aeeb6f0bba43" providerId="ADAL" clId="{CF69AF42-8272-4DD0-8DDF-6C427CEE1F4D}" dt="2023-10-08T19:30:45.096" v="4289" actId="6549"/>
          <ac:spMkLst>
            <pc:docMk/>
            <pc:sldMk cId="958886000" sldId="1123"/>
            <ac:spMk id="11" creationId="{033FE364-CD40-4A5D-BD6E-423977E03EFB}"/>
          </ac:spMkLst>
        </pc:spChg>
        <pc:spChg chg="mod">
          <ac:chgData name="Pronk, Carolien" userId="0d88beb2-f397-4226-8868-aeeb6f0bba43" providerId="ADAL" clId="{CF69AF42-8272-4DD0-8DDF-6C427CEE1F4D}" dt="2023-10-08T20:33:12.886" v="9385" actId="20577"/>
          <ac:spMkLst>
            <pc:docMk/>
            <pc:sldMk cId="958886000" sldId="1123"/>
            <ac:spMk id="12" creationId="{89FE8415-2824-46C9-B33B-0EEA0DDD95AF}"/>
          </ac:spMkLst>
        </pc:spChg>
        <pc:spChg chg="mod">
          <ac:chgData name="Pronk, Carolien" userId="0d88beb2-f397-4226-8868-aeeb6f0bba43" providerId="ADAL" clId="{CF69AF42-8272-4DD0-8DDF-6C427CEE1F4D}" dt="2023-10-08T20:39:21.531" v="9730" actId="20577"/>
          <ac:spMkLst>
            <pc:docMk/>
            <pc:sldMk cId="958886000" sldId="1123"/>
            <ac:spMk id="13" creationId="{89CC7788-DD4F-4C23-84B3-08C7D1CBE7BC}"/>
          </ac:spMkLst>
        </pc:spChg>
        <pc:spChg chg="mod">
          <ac:chgData name="Pronk, Carolien" userId="0d88beb2-f397-4226-8868-aeeb6f0bba43" providerId="ADAL" clId="{CF69AF42-8272-4DD0-8DDF-6C427CEE1F4D}" dt="2023-10-08T20:32:36.400" v="9343" actId="20577"/>
          <ac:spMkLst>
            <pc:docMk/>
            <pc:sldMk cId="958886000" sldId="1123"/>
            <ac:spMk id="14" creationId="{0BFFDF80-6A58-42A4-A008-D86E84319D75}"/>
          </ac:spMkLst>
        </pc:spChg>
        <pc:spChg chg="mod">
          <ac:chgData name="Pronk, Carolien" userId="0d88beb2-f397-4226-8868-aeeb6f0bba43" providerId="ADAL" clId="{CF69AF42-8272-4DD0-8DDF-6C427CEE1F4D}" dt="2023-10-08T20:28:25.511" v="8650" actId="20577"/>
          <ac:spMkLst>
            <pc:docMk/>
            <pc:sldMk cId="958886000" sldId="1123"/>
            <ac:spMk id="15" creationId="{9B195C29-7340-4E6A-9E48-A98EBDA8290A}"/>
          </ac:spMkLst>
        </pc:spChg>
        <pc:spChg chg="mod">
          <ac:chgData name="Pronk, Carolien" userId="0d88beb2-f397-4226-8868-aeeb6f0bba43" providerId="ADAL" clId="{CF69AF42-8272-4DD0-8DDF-6C427CEE1F4D}" dt="2023-10-08T20:26:23.871" v="8296" actId="6549"/>
          <ac:spMkLst>
            <pc:docMk/>
            <pc:sldMk cId="958886000" sldId="1123"/>
            <ac:spMk id="17" creationId="{8B9C6D62-3B60-4524-A157-4646F8B6A4D7}"/>
          </ac:spMkLst>
        </pc:spChg>
        <pc:spChg chg="mod">
          <ac:chgData name="Pronk, Carolien" userId="0d88beb2-f397-4226-8868-aeeb6f0bba43" providerId="ADAL" clId="{CF69AF42-8272-4DD0-8DDF-6C427CEE1F4D}" dt="2023-10-08T20:26:19.241" v="8293" actId="20577"/>
          <ac:spMkLst>
            <pc:docMk/>
            <pc:sldMk cId="958886000" sldId="1123"/>
            <ac:spMk id="18" creationId="{6CF9F5EE-ECCB-4E3D-89AD-00E1E17B19DD}"/>
          </ac:spMkLst>
        </pc:spChg>
        <pc:spChg chg="mod">
          <ac:chgData name="Pronk, Carolien" userId="0d88beb2-f397-4226-8868-aeeb6f0bba43" providerId="ADAL" clId="{CF69AF42-8272-4DD0-8DDF-6C427CEE1F4D}" dt="2023-10-08T20:26:13.916" v="8290" actId="6549"/>
          <ac:spMkLst>
            <pc:docMk/>
            <pc:sldMk cId="958886000" sldId="1123"/>
            <ac:spMk id="19" creationId="{1EF4418D-3051-4565-A9B5-59D9CB6E2F32}"/>
          </ac:spMkLst>
        </pc:spChg>
        <pc:spChg chg="mod">
          <ac:chgData name="Pronk, Carolien" userId="0d88beb2-f397-4226-8868-aeeb6f0bba43" providerId="ADAL" clId="{CF69AF42-8272-4DD0-8DDF-6C427CEE1F4D}" dt="2023-10-08T20:29:41.473" v="8870" actId="20577"/>
          <ac:spMkLst>
            <pc:docMk/>
            <pc:sldMk cId="958886000" sldId="1123"/>
            <ac:spMk id="20" creationId="{BF7F2C49-2035-479A-A015-2200310C90EB}"/>
          </ac:spMkLst>
        </pc:spChg>
        <pc:spChg chg="mod">
          <ac:chgData name="Pronk, Carolien" userId="0d88beb2-f397-4226-8868-aeeb6f0bba43" providerId="ADAL" clId="{CF69AF42-8272-4DD0-8DDF-6C427CEE1F4D}" dt="2023-10-08T20:39:39.645" v="9732" actId="1076"/>
          <ac:spMkLst>
            <pc:docMk/>
            <pc:sldMk cId="958886000" sldId="1123"/>
            <ac:spMk id="21" creationId="{EDCED586-C2E9-40D0-B708-70E63CA607DA}"/>
          </ac:spMkLst>
        </pc:spChg>
        <pc:spChg chg="mod">
          <ac:chgData name="Pronk, Carolien" userId="0d88beb2-f397-4226-8868-aeeb6f0bba43" providerId="ADAL" clId="{CF69AF42-8272-4DD0-8DDF-6C427CEE1F4D}" dt="2023-10-08T20:39:44.867" v="9733" actId="1076"/>
          <ac:spMkLst>
            <pc:docMk/>
            <pc:sldMk cId="958886000" sldId="1123"/>
            <ac:spMk id="22" creationId="{B6D30685-8983-434E-94BF-B799CF6ED3CF}"/>
          </ac:spMkLst>
        </pc:spChg>
        <pc:spChg chg="mod">
          <ac:chgData name="Pronk, Carolien" userId="0d88beb2-f397-4226-8868-aeeb6f0bba43" providerId="ADAL" clId="{CF69AF42-8272-4DD0-8DDF-6C427CEE1F4D}" dt="2023-10-08T20:29:26.770" v="8854" actId="20577"/>
          <ac:spMkLst>
            <pc:docMk/>
            <pc:sldMk cId="958886000" sldId="1123"/>
            <ac:spMk id="26" creationId="{7326F62F-48DF-4CFC-88B6-4A6F40F94CFD}"/>
          </ac:spMkLst>
        </pc:spChg>
        <pc:spChg chg="mod">
          <ac:chgData name="Pronk, Carolien" userId="0d88beb2-f397-4226-8868-aeeb6f0bba43" providerId="ADAL" clId="{CF69AF42-8272-4DD0-8DDF-6C427CEE1F4D}" dt="2023-10-08T20:26:29.234" v="8305" actId="20577"/>
          <ac:spMkLst>
            <pc:docMk/>
            <pc:sldMk cId="958886000" sldId="1123"/>
            <ac:spMk id="29" creationId="{7B40A441-D22E-4DBC-8C02-0BA4C8682008}"/>
          </ac:spMkLst>
        </pc:spChg>
        <pc:spChg chg="mod">
          <ac:chgData name="Pronk, Carolien" userId="0d88beb2-f397-4226-8868-aeeb6f0bba43" providerId="ADAL" clId="{CF69AF42-8272-4DD0-8DDF-6C427CEE1F4D}" dt="2023-10-08T19:29:29.657" v="3939" actId="20577"/>
          <ac:spMkLst>
            <pc:docMk/>
            <pc:sldMk cId="958886000" sldId="1123"/>
            <ac:spMk id="31" creationId="{317352ED-1B89-4B1D-9594-79B93F91C0E1}"/>
          </ac:spMkLst>
        </pc:spChg>
        <pc:spChg chg="mod">
          <ac:chgData name="Pronk, Carolien" userId="0d88beb2-f397-4226-8868-aeeb6f0bba43" providerId="ADAL" clId="{CF69AF42-8272-4DD0-8DDF-6C427CEE1F4D}" dt="2023-10-08T19:28:14.512" v="3655" actId="6549"/>
          <ac:spMkLst>
            <pc:docMk/>
            <pc:sldMk cId="958886000" sldId="1123"/>
            <ac:spMk id="32" creationId="{BC3E9D62-745C-4A59-A551-7DD0CAB2BC00}"/>
          </ac:spMkLst>
        </pc:spChg>
      </pc:sldChg>
      <pc:sldChg chg="modSp mod">
        <pc:chgData name="Pronk, Carolien" userId="0d88beb2-f397-4226-8868-aeeb6f0bba43" providerId="ADAL" clId="{CF69AF42-8272-4DD0-8DDF-6C427CEE1F4D}" dt="2023-10-09T07:05:36.163" v="15503" actId="6549"/>
        <pc:sldMkLst>
          <pc:docMk/>
          <pc:sldMk cId="3743203489" sldId="1124"/>
        </pc:sldMkLst>
        <pc:spChg chg="mod">
          <ac:chgData name="Pronk, Carolien" userId="0d88beb2-f397-4226-8868-aeeb6f0bba43" providerId="ADAL" clId="{CF69AF42-8272-4DD0-8DDF-6C427CEE1F4D}" dt="2023-10-09T06:12:02.010" v="11875" actId="14100"/>
          <ac:spMkLst>
            <pc:docMk/>
            <pc:sldMk cId="3743203489" sldId="1124"/>
            <ac:spMk id="7" creationId="{E8CEC1BF-5E72-47DE-8BED-A1D877506718}"/>
          </ac:spMkLst>
        </pc:spChg>
        <pc:spChg chg="mod">
          <ac:chgData name="Pronk, Carolien" userId="0d88beb2-f397-4226-8868-aeeb6f0bba43" providerId="ADAL" clId="{CF69AF42-8272-4DD0-8DDF-6C427CEE1F4D}" dt="2023-10-09T07:05:36.163" v="15503" actId="6549"/>
          <ac:spMkLst>
            <pc:docMk/>
            <pc:sldMk cId="3743203489" sldId="1124"/>
            <ac:spMk id="9" creationId="{43C7C578-650A-24DB-7BB1-1B5730488210}"/>
          </ac:spMkLst>
        </pc:spChg>
      </pc:sldChg>
      <pc:sldChg chg="modSp mod">
        <pc:chgData name="Pronk, Carolien" userId="0d88beb2-f397-4226-8868-aeeb6f0bba43" providerId="ADAL" clId="{CF69AF42-8272-4DD0-8DDF-6C427CEE1F4D}" dt="2023-10-09T06:46:13.847" v="13646" actId="14100"/>
        <pc:sldMkLst>
          <pc:docMk/>
          <pc:sldMk cId="1282856599" sldId="1125"/>
        </pc:sldMkLst>
        <pc:spChg chg="mod">
          <ac:chgData name="Pronk, Carolien" userId="0d88beb2-f397-4226-8868-aeeb6f0bba43" providerId="ADAL" clId="{CF69AF42-8272-4DD0-8DDF-6C427CEE1F4D}" dt="2023-10-09T06:46:13.847" v="13646" actId="14100"/>
          <ac:spMkLst>
            <pc:docMk/>
            <pc:sldMk cId="1282856599" sldId="1125"/>
            <ac:spMk id="7" creationId="{E8CEC1BF-5E72-47DE-8BED-A1D877506718}"/>
          </ac:spMkLst>
        </pc:spChg>
        <pc:spChg chg="mod">
          <ac:chgData name="Pronk, Carolien" userId="0d88beb2-f397-4226-8868-aeeb6f0bba43" providerId="ADAL" clId="{CF69AF42-8272-4DD0-8DDF-6C427CEE1F4D}" dt="2023-10-09T06:44:33.779" v="13176" actId="20577"/>
          <ac:spMkLst>
            <pc:docMk/>
            <pc:sldMk cId="1282856599" sldId="1125"/>
            <ac:spMk id="9" creationId="{43C7C578-650A-24DB-7BB1-1B5730488210}"/>
          </ac:spMkLst>
        </pc:spChg>
      </pc:sldChg>
      <pc:sldChg chg="modSp mod">
        <pc:chgData name="Pronk, Carolien" userId="0d88beb2-f397-4226-8868-aeeb6f0bba43" providerId="ADAL" clId="{CF69AF42-8272-4DD0-8DDF-6C427CEE1F4D}" dt="2023-10-09T10:05:46.014" v="19201" actId="313"/>
        <pc:sldMkLst>
          <pc:docMk/>
          <pc:sldMk cId="270216965" sldId="1134"/>
        </pc:sldMkLst>
        <pc:spChg chg="mod">
          <ac:chgData name="Pronk, Carolien" userId="0d88beb2-f397-4226-8868-aeeb6f0bba43" providerId="ADAL" clId="{CF69AF42-8272-4DD0-8DDF-6C427CEE1F4D}" dt="2023-10-09T10:05:46.014" v="19201" actId="313"/>
          <ac:spMkLst>
            <pc:docMk/>
            <pc:sldMk cId="270216965" sldId="1134"/>
            <ac:spMk id="4" creationId="{ED5FEDBA-0196-D0BF-7BBF-28FD2432D39B}"/>
          </ac:spMkLst>
        </pc:spChg>
        <pc:spChg chg="mod">
          <ac:chgData name="Pronk, Carolien" userId="0d88beb2-f397-4226-8868-aeeb6f0bba43" providerId="ADAL" clId="{CF69AF42-8272-4DD0-8DDF-6C427CEE1F4D}" dt="2023-10-09T10:04:36.844" v="18960" actId="6549"/>
          <ac:spMkLst>
            <pc:docMk/>
            <pc:sldMk cId="270216965" sldId="1134"/>
            <ac:spMk id="7" creationId="{00000000-0000-0000-0000-000000000000}"/>
          </ac:spMkLst>
        </pc:spChg>
        <pc:spChg chg="mod">
          <ac:chgData name="Pronk, Carolien" userId="0d88beb2-f397-4226-8868-aeeb6f0bba43" providerId="ADAL" clId="{CF69AF42-8272-4DD0-8DDF-6C427CEE1F4D}" dt="2023-10-09T10:04:26.695" v="18914" actId="6549"/>
          <ac:spMkLst>
            <pc:docMk/>
            <pc:sldMk cId="270216965" sldId="1134"/>
            <ac:spMk id="23" creationId="{19DA52D4-E0D2-BC07-72D7-7835A8D95B06}"/>
          </ac:spMkLst>
        </pc:spChg>
      </pc:sldChg>
      <pc:sldChg chg="addSp delSp modSp mod">
        <pc:chgData name="Pronk, Carolien" userId="0d88beb2-f397-4226-8868-aeeb6f0bba43" providerId="ADAL" clId="{CF69AF42-8272-4DD0-8DDF-6C427CEE1F4D}" dt="2023-10-09T06:41:10.027" v="13141" actId="14100"/>
        <pc:sldMkLst>
          <pc:docMk/>
          <pc:sldMk cId="906247273" sldId="1137"/>
        </pc:sldMkLst>
        <pc:spChg chg="mod">
          <ac:chgData name="Pronk, Carolien" userId="0d88beb2-f397-4226-8868-aeeb6f0bba43" providerId="ADAL" clId="{CF69AF42-8272-4DD0-8DDF-6C427CEE1F4D}" dt="2023-10-09T06:27:35.416" v="12724" actId="6549"/>
          <ac:spMkLst>
            <pc:docMk/>
            <pc:sldMk cId="906247273" sldId="1137"/>
            <ac:spMk id="2" creationId="{08B64589-52A9-5100-7CE1-EADCEDE6314D}"/>
          </ac:spMkLst>
        </pc:spChg>
        <pc:spChg chg="add del">
          <ac:chgData name="Pronk, Carolien" userId="0d88beb2-f397-4226-8868-aeeb6f0bba43" providerId="ADAL" clId="{CF69AF42-8272-4DD0-8DDF-6C427CEE1F4D}" dt="2023-10-08T20:44:16.708" v="10314"/>
          <ac:spMkLst>
            <pc:docMk/>
            <pc:sldMk cId="906247273" sldId="1137"/>
            <ac:spMk id="8" creationId="{F32DCE88-C754-2D56-AB21-9D5247E88FE7}"/>
          </ac:spMkLst>
        </pc:spChg>
        <pc:spChg chg="add del">
          <ac:chgData name="Pronk, Carolien" userId="0d88beb2-f397-4226-8868-aeeb6f0bba43" providerId="ADAL" clId="{CF69AF42-8272-4DD0-8DDF-6C427CEE1F4D}" dt="2023-10-08T20:44:22.117" v="10316"/>
          <ac:spMkLst>
            <pc:docMk/>
            <pc:sldMk cId="906247273" sldId="1137"/>
            <ac:spMk id="9" creationId="{81A9E505-63B8-D9C4-998F-83017EEA10BC}"/>
          </ac:spMkLst>
        </pc:spChg>
        <pc:spChg chg="add del">
          <ac:chgData name="Pronk, Carolien" userId="0d88beb2-f397-4226-8868-aeeb6f0bba43" providerId="ADAL" clId="{CF69AF42-8272-4DD0-8DDF-6C427CEE1F4D}" dt="2023-10-08T20:44:25.549" v="10318"/>
          <ac:spMkLst>
            <pc:docMk/>
            <pc:sldMk cId="906247273" sldId="1137"/>
            <ac:spMk id="10" creationId="{798B6A79-E73B-98CF-783E-43D3E3289C48}"/>
          </ac:spMkLst>
        </pc:spChg>
        <pc:spChg chg="add del">
          <ac:chgData name="Pronk, Carolien" userId="0d88beb2-f397-4226-8868-aeeb6f0bba43" providerId="ADAL" clId="{CF69AF42-8272-4DD0-8DDF-6C427CEE1F4D}" dt="2023-10-08T20:44:41.041" v="10320"/>
          <ac:spMkLst>
            <pc:docMk/>
            <pc:sldMk cId="906247273" sldId="1137"/>
            <ac:spMk id="12" creationId="{EA266008-DE07-9900-5DC1-5546C6086FB1}"/>
          </ac:spMkLst>
        </pc:spChg>
        <pc:spChg chg="add del">
          <ac:chgData name="Pronk, Carolien" userId="0d88beb2-f397-4226-8868-aeeb6f0bba43" providerId="ADAL" clId="{CF69AF42-8272-4DD0-8DDF-6C427CEE1F4D}" dt="2023-10-08T20:45:03.615" v="10322"/>
          <ac:spMkLst>
            <pc:docMk/>
            <pc:sldMk cId="906247273" sldId="1137"/>
            <ac:spMk id="13" creationId="{038D8AA2-8F19-3E28-1B72-5D2E1A5C5C76}"/>
          </ac:spMkLst>
        </pc:spChg>
        <pc:spChg chg="mod">
          <ac:chgData name="Pronk, Carolien" userId="0d88beb2-f397-4226-8868-aeeb6f0bba43" providerId="ADAL" clId="{CF69AF42-8272-4DD0-8DDF-6C427CEE1F4D}" dt="2023-10-09T06:41:10.027" v="13141" actId="14100"/>
          <ac:spMkLst>
            <pc:docMk/>
            <pc:sldMk cId="906247273" sldId="1137"/>
            <ac:spMk id="22" creationId="{BB4F6E2C-C147-7395-B311-68D450356051}"/>
          </ac:spMkLst>
        </pc:spChg>
      </pc:sldChg>
      <pc:sldChg chg="addSp delSp modSp mod modClrScheme chgLayout modNotesTx">
        <pc:chgData name="Pronk, Carolien" userId="0d88beb2-f397-4226-8868-aeeb6f0bba43" providerId="ADAL" clId="{CF69AF42-8272-4DD0-8DDF-6C427CEE1F4D}" dt="2023-10-09T10:29:49.410" v="19377" actId="20577"/>
        <pc:sldMkLst>
          <pc:docMk/>
          <pc:sldMk cId="3529530195" sldId="1138"/>
        </pc:sldMkLst>
        <pc:spChg chg="mod">
          <ac:chgData name="Pronk, Carolien" userId="0d88beb2-f397-4226-8868-aeeb6f0bba43" providerId="ADAL" clId="{CF69AF42-8272-4DD0-8DDF-6C427CEE1F4D}" dt="2023-10-09T10:29:49.410" v="19377" actId="20577"/>
          <ac:spMkLst>
            <pc:docMk/>
            <pc:sldMk cId="3529530195" sldId="1138"/>
            <ac:spMk id="3" creationId="{2991E86D-D220-C700-D826-6E4E41C85E36}"/>
          </ac:spMkLst>
        </pc:spChg>
        <pc:spChg chg="mod">
          <ac:chgData name="Pronk, Carolien" userId="0d88beb2-f397-4226-8868-aeeb6f0bba43" providerId="ADAL" clId="{CF69AF42-8272-4DD0-8DDF-6C427CEE1F4D}" dt="2023-10-09T10:25:44.930" v="19363" actId="26606"/>
          <ac:spMkLst>
            <pc:docMk/>
            <pc:sldMk cId="3529530195" sldId="1138"/>
            <ac:spMk id="4" creationId="{EF997A03-7694-C471-2A78-776D0E542A93}"/>
          </ac:spMkLst>
        </pc:spChg>
        <pc:spChg chg="add del mod">
          <ac:chgData name="Pronk, Carolien" userId="0d88beb2-f397-4226-8868-aeeb6f0bba43" providerId="ADAL" clId="{CF69AF42-8272-4DD0-8DDF-6C427CEE1F4D}" dt="2023-10-09T10:25:44.930" v="19363" actId="26606"/>
          <ac:spMkLst>
            <pc:docMk/>
            <pc:sldMk cId="3529530195" sldId="1138"/>
            <ac:spMk id="6" creationId="{99046C98-B944-F937-391A-A9870D068C54}"/>
          </ac:spMkLst>
        </pc:spChg>
        <pc:spChg chg="add del mod">
          <ac:chgData name="Pronk, Carolien" userId="0d88beb2-f397-4226-8868-aeeb6f0bba43" providerId="ADAL" clId="{CF69AF42-8272-4DD0-8DDF-6C427CEE1F4D}" dt="2023-10-09T10:25:44.918" v="19362" actId="26606"/>
          <ac:spMkLst>
            <pc:docMk/>
            <pc:sldMk cId="3529530195" sldId="1138"/>
            <ac:spMk id="13" creationId="{856FD592-D2D3-BCF7-701C-E9B6ECE57698}"/>
          </ac:spMkLst>
        </pc:spChg>
        <pc:spChg chg="add mod">
          <ac:chgData name="Pronk, Carolien" userId="0d88beb2-f397-4226-8868-aeeb6f0bba43" providerId="ADAL" clId="{CF69AF42-8272-4DD0-8DDF-6C427CEE1F4D}" dt="2023-10-09T10:25:44.930" v="19363" actId="26606"/>
          <ac:spMkLst>
            <pc:docMk/>
            <pc:sldMk cId="3529530195" sldId="1138"/>
            <ac:spMk id="15" creationId="{93BFFB9F-92FF-3674-3812-D6A947BC183E}"/>
          </ac:spMkLst>
        </pc:spChg>
        <pc:picChg chg="del">
          <ac:chgData name="Pronk, Carolien" userId="0d88beb2-f397-4226-8868-aeeb6f0bba43" providerId="ADAL" clId="{CF69AF42-8272-4DD0-8DDF-6C427CEE1F4D}" dt="2023-10-09T10:23:46.916" v="19357" actId="478"/>
          <ac:picMkLst>
            <pc:docMk/>
            <pc:sldMk cId="3529530195" sldId="1138"/>
            <ac:picMk id="5" creationId="{F6BCAD4C-6A4C-CABC-B6EA-C49C6653743B}"/>
          </ac:picMkLst>
        </pc:picChg>
        <pc:picChg chg="add mod ord">
          <ac:chgData name="Pronk, Carolien" userId="0d88beb2-f397-4226-8868-aeeb6f0bba43" providerId="ADAL" clId="{CF69AF42-8272-4DD0-8DDF-6C427CEE1F4D}" dt="2023-10-09T10:25:44.930" v="19363" actId="26606"/>
          <ac:picMkLst>
            <pc:docMk/>
            <pc:sldMk cId="3529530195" sldId="1138"/>
            <ac:picMk id="8" creationId="{D88EB84B-014A-DF4F-7151-163BF56CE7E9}"/>
          </ac:picMkLst>
        </pc:picChg>
      </pc:sldChg>
      <pc:sldChg chg="modSp mod">
        <pc:chgData name="Pronk, Carolien" userId="0d88beb2-f397-4226-8868-aeeb6f0bba43" providerId="ADAL" clId="{CF69AF42-8272-4DD0-8DDF-6C427CEE1F4D}" dt="2023-10-10T08:11:43.667" v="20692" actId="20577"/>
        <pc:sldMkLst>
          <pc:docMk/>
          <pc:sldMk cId="50937439" sldId="1141"/>
        </pc:sldMkLst>
        <pc:spChg chg="mod">
          <ac:chgData name="Pronk, Carolien" userId="0d88beb2-f397-4226-8868-aeeb6f0bba43" providerId="ADAL" clId="{CF69AF42-8272-4DD0-8DDF-6C427CEE1F4D}" dt="2023-10-08T19:00:17.663" v="426" actId="20577"/>
          <ac:spMkLst>
            <pc:docMk/>
            <pc:sldMk cId="50937439" sldId="1141"/>
            <ac:spMk id="2" creationId="{56B2E677-DFDD-41E6-B7E7-925C6E0D8B78}"/>
          </ac:spMkLst>
        </pc:spChg>
        <pc:spChg chg="mod">
          <ac:chgData name="Pronk, Carolien" userId="0d88beb2-f397-4226-8868-aeeb6f0bba43" providerId="ADAL" clId="{CF69AF42-8272-4DD0-8DDF-6C427CEE1F4D}" dt="2023-10-10T08:11:43.667" v="20692" actId="20577"/>
          <ac:spMkLst>
            <pc:docMk/>
            <pc:sldMk cId="50937439" sldId="1141"/>
            <ac:spMk id="3" creationId="{0AE295D4-0409-88AA-F3F1-7A8F42037DC7}"/>
          </ac:spMkLst>
        </pc:spChg>
        <pc:spChg chg="mod">
          <ac:chgData name="Pronk, Carolien" userId="0d88beb2-f397-4226-8868-aeeb6f0bba43" providerId="ADAL" clId="{CF69AF42-8272-4DD0-8DDF-6C427CEE1F4D}" dt="2023-10-08T19:00:08" v="401" actId="20577"/>
          <ac:spMkLst>
            <pc:docMk/>
            <pc:sldMk cId="50937439" sldId="1141"/>
            <ac:spMk id="7" creationId="{6FB68E26-0B0F-573D-BE99-927BB1515A58}"/>
          </ac:spMkLst>
        </pc:spChg>
      </pc:sldChg>
      <pc:sldChg chg="addSp delSp modSp mod">
        <pc:chgData name="Pronk, Carolien" userId="0d88beb2-f397-4226-8868-aeeb6f0bba43" providerId="ADAL" clId="{CF69AF42-8272-4DD0-8DDF-6C427CEE1F4D}" dt="2023-10-09T06:32:31.530" v="12888" actId="20577"/>
        <pc:sldMkLst>
          <pc:docMk/>
          <pc:sldMk cId="2531705288" sldId="1143"/>
        </pc:sldMkLst>
        <pc:spChg chg="mod">
          <ac:chgData name="Pronk, Carolien" userId="0d88beb2-f397-4226-8868-aeeb6f0bba43" providerId="ADAL" clId="{CF69AF42-8272-4DD0-8DDF-6C427CEE1F4D}" dt="2023-10-08T19:43:20.128" v="4662" actId="6549"/>
          <ac:spMkLst>
            <pc:docMk/>
            <pc:sldMk cId="2531705288" sldId="1143"/>
            <ac:spMk id="2" creationId="{6B84AB98-9B45-5953-64B0-0CF5E5CAFB7A}"/>
          </ac:spMkLst>
        </pc:spChg>
        <pc:spChg chg="mod">
          <ac:chgData name="Pronk, Carolien" userId="0d88beb2-f397-4226-8868-aeeb6f0bba43" providerId="ADAL" clId="{CF69AF42-8272-4DD0-8DDF-6C427CEE1F4D}" dt="2023-10-09T06:32:31.530" v="12888" actId="20577"/>
          <ac:spMkLst>
            <pc:docMk/>
            <pc:sldMk cId="2531705288" sldId="1143"/>
            <ac:spMk id="3" creationId="{AEDB8DD3-140D-255C-39F0-40FB2ED01037}"/>
          </ac:spMkLst>
        </pc:spChg>
        <pc:picChg chg="add mod modCrop">
          <ac:chgData name="Pronk, Carolien" userId="0d88beb2-f397-4226-8868-aeeb6f0bba43" providerId="ADAL" clId="{CF69AF42-8272-4DD0-8DDF-6C427CEE1F4D}" dt="2023-10-08T19:38:11.696" v="4638" actId="1076"/>
          <ac:picMkLst>
            <pc:docMk/>
            <pc:sldMk cId="2531705288" sldId="1143"/>
            <ac:picMk id="4" creationId="{053B3DB7-9F57-CE11-8003-9A222B5186A7}"/>
          </ac:picMkLst>
        </pc:picChg>
        <pc:picChg chg="mod">
          <ac:chgData name="Pronk, Carolien" userId="0d88beb2-f397-4226-8868-aeeb6f0bba43" providerId="ADAL" clId="{CF69AF42-8272-4DD0-8DDF-6C427CEE1F4D}" dt="2023-10-08T20:13:22.713" v="6255" actId="1076"/>
          <ac:picMkLst>
            <pc:docMk/>
            <pc:sldMk cId="2531705288" sldId="1143"/>
            <ac:picMk id="5" creationId="{6F248121-110B-02E2-F67E-85D91668840C}"/>
          </ac:picMkLst>
        </pc:picChg>
        <pc:picChg chg="add del mod">
          <ac:chgData name="Pronk, Carolien" userId="0d88beb2-f397-4226-8868-aeeb6f0bba43" providerId="ADAL" clId="{CF69AF42-8272-4DD0-8DDF-6C427CEE1F4D}" dt="2023-10-08T19:42:57.743" v="4657" actId="478"/>
          <ac:picMkLst>
            <pc:docMk/>
            <pc:sldMk cId="2531705288" sldId="1143"/>
            <ac:picMk id="6" creationId="{1EBBCA1E-329A-7189-5FEC-0F060F866B8F}"/>
          </ac:picMkLst>
        </pc:picChg>
        <pc:picChg chg="add mod modCrop">
          <ac:chgData name="Pronk, Carolien" userId="0d88beb2-f397-4226-8868-aeeb6f0bba43" providerId="ADAL" clId="{CF69AF42-8272-4DD0-8DDF-6C427CEE1F4D}" dt="2023-10-08T20:15:15.102" v="6273" actId="14100"/>
          <ac:picMkLst>
            <pc:docMk/>
            <pc:sldMk cId="2531705288" sldId="1143"/>
            <ac:picMk id="8" creationId="{268F0340-554F-37D6-EABA-0D62F58712D9}"/>
          </ac:picMkLst>
        </pc:picChg>
        <pc:picChg chg="mod">
          <ac:chgData name="Pronk, Carolien" userId="0d88beb2-f397-4226-8868-aeeb6f0bba43" providerId="ADAL" clId="{CF69AF42-8272-4DD0-8DDF-6C427CEE1F4D}" dt="2023-10-08T20:13:15.124" v="6253" actId="14100"/>
          <ac:picMkLst>
            <pc:docMk/>
            <pc:sldMk cId="2531705288" sldId="1143"/>
            <ac:picMk id="10" creationId="{6D3E0543-60A3-C9C8-4D36-0A004E59479A}"/>
          </ac:picMkLst>
        </pc:picChg>
        <pc:picChg chg="add mod modCrop">
          <ac:chgData name="Pronk, Carolien" userId="0d88beb2-f397-4226-8868-aeeb6f0bba43" providerId="ADAL" clId="{CF69AF42-8272-4DD0-8DDF-6C427CEE1F4D}" dt="2023-10-08T20:15:18.176" v="6274" actId="14100"/>
          <ac:picMkLst>
            <pc:docMk/>
            <pc:sldMk cId="2531705288" sldId="1143"/>
            <ac:picMk id="11" creationId="{26782B06-DDE7-4363-0070-5F12A6608427}"/>
          </ac:picMkLst>
        </pc:picChg>
        <pc:picChg chg="mod">
          <ac:chgData name="Pronk, Carolien" userId="0d88beb2-f397-4226-8868-aeeb6f0bba43" providerId="ADAL" clId="{CF69AF42-8272-4DD0-8DDF-6C427CEE1F4D}" dt="2023-10-08T20:15:10.730" v="6272" actId="14100"/>
          <ac:picMkLst>
            <pc:docMk/>
            <pc:sldMk cId="2531705288" sldId="1143"/>
            <ac:picMk id="14" creationId="{9726CDDA-AE33-02DA-55EF-03F2A13C5763}"/>
          </ac:picMkLst>
        </pc:picChg>
        <pc:picChg chg="add mod">
          <ac:chgData name="Pronk, Carolien" userId="0d88beb2-f397-4226-8868-aeeb6f0bba43" providerId="ADAL" clId="{CF69AF42-8272-4DD0-8DDF-6C427CEE1F4D}" dt="2023-10-08T20:14:48.232" v="6268" actId="1076"/>
          <ac:picMkLst>
            <pc:docMk/>
            <pc:sldMk cId="2531705288" sldId="1143"/>
            <ac:picMk id="1026" creationId="{73186A32-82F3-6F71-F25C-83A9BE2E8E9A}"/>
          </ac:picMkLst>
        </pc:picChg>
      </pc:sldChg>
      <pc:sldChg chg="addSp delSp modSp mod">
        <pc:chgData name="Pronk, Carolien" userId="0d88beb2-f397-4226-8868-aeeb6f0bba43" providerId="ADAL" clId="{CF69AF42-8272-4DD0-8DDF-6C427CEE1F4D}" dt="2023-10-08T19:27:52.889" v="3603" actId="5793"/>
        <pc:sldMkLst>
          <pc:docMk/>
          <pc:sldMk cId="1002777817" sldId="1146"/>
        </pc:sldMkLst>
        <pc:spChg chg="mod">
          <ac:chgData name="Pronk, Carolien" userId="0d88beb2-f397-4226-8868-aeeb6f0bba43" providerId="ADAL" clId="{CF69AF42-8272-4DD0-8DDF-6C427CEE1F4D}" dt="2023-10-08T19:27:05.531" v="3489" actId="6549"/>
          <ac:spMkLst>
            <pc:docMk/>
            <pc:sldMk cId="1002777817" sldId="1146"/>
            <ac:spMk id="3" creationId="{3CFF1711-2B95-E6EC-AE98-01E750EED200}"/>
          </ac:spMkLst>
        </pc:spChg>
        <pc:spChg chg="add mod">
          <ac:chgData name="Pronk, Carolien" userId="0d88beb2-f397-4226-8868-aeeb6f0bba43" providerId="ADAL" clId="{CF69AF42-8272-4DD0-8DDF-6C427CEE1F4D}" dt="2023-10-08T19:27:52.889" v="3603" actId="5793"/>
          <ac:spMkLst>
            <pc:docMk/>
            <pc:sldMk cId="1002777817" sldId="1146"/>
            <ac:spMk id="6" creationId="{60537295-64E2-9828-D696-6032F671ED22}"/>
          </ac:spMkLst>
        </pc:spChg>
        <pc:picChg chg="del">
          <ac:chgData name="Pronk, Carolien" userId="0d88beb2-f397-4226-8868-aeeb6f0bba43" providerId="ADAL" clId="{CF69AF42-8272-4DD0-8DDF-6C427CEE1F4D}" dt="2023-10-08T19:25:35.616" v="3346" actId="478"/>
          <ac:picMkLst>
            <pc:docMk/>
            <pc:sldMk cId="1002777817" sldId="1146"/>
            <ac:picMk id="5" creationId="{17C4D4B6-28C7-B065-9C16-DBD7C2B8B181}"/>
          </ac:picMkLst>
        </pc:picChg>
        <pc:picChg chg="add mod">
          <ac:chgData name="Pronk, Carolien" userId="0d88beb2-f397-4226-8868-aeeb6f0bba43" providerId="ADAL" clId="{CF69AF42-8272-4DD0-8DDF-6C427CEE1F4D}" dt="2023-10-08T19:25:59.497" v="3354" actId="1076"/>
          <ac:picMkLst>
            <pc:docMk/>
            <pc:sldMk cId="1002777817" sldId="1146"/>
            <ac:picMk id="8" creationId="{7204BC21-FDFA-2030-2CA6-BE1CC07E3294}"/>
          </ac:picMkLst>
        </pc:picChg>
      </pc:sldChg>
      <pc:sldChg chg="modSp mod">
        <pc:chgData name="Pronk, Carolien" userId="0d88beb2-f397-4226-8868-aeeb6f0bba43" providerId="ADAL" clId="{CF69AF42-8272-4DD0-8DDF-6C427CEE1F4D}" dt="2023-10-09T07:04:07.307" v="15284" actId="404"/>
        <pc:sldMkLst>
          <pc:docMk/>
          <pc:sldMk cId="2370179050" sldId="1147"/>
        </pc:sldMkLst>
        <pc:spChg chg="mod">
          <ac:chgData name="Pronk, Carolien" userId="0d88beb2-f397-4226-8868-aeeb6f0bba43" providerId="ADAL" clId="{CF69AF42-8272-4DD0-8DDF-6C427CEE1F4D}" dt="2023-10-09T07:02:55.132" v="15207" actId="14100"/>
          <ac:spMkLst>
            <pc:docMk/>
            <pc:sldMk cId="2370179050" sldId="1147"/>
            <ac:spMk id="2" creationId="{B8C86DF7-3320-ECBD-EACD-3DA6C87C601A}"/>
          </ac:spMkLst>
        </pc:spChg>
        <pc:spChg chg="mod">
          <ac:chgData name="Pronk, Carolien" userId="0d88beb2-f397-4226-8868-aeeb6f0bba43" providerId="ADAL" clId="{CF69AF42-8272-4DD0-8DDF-6C427CEE1F4D}" dt="2023-10-09T07:04:07.307" v="15284" actId="404"/>
          <ac:spMkLst>
            <pc:docMk/>
            <pc:sldMk cId="2370179050" sldId="1147"/>
            <ac:spMk id="3" creationId="{3986D256-A772-0161-0999-B5C9E9EE2F50}"/>
          </ac:spMkLst>
        </pc:spChg>
        <pc:picChg chg="mod modCrop">
          <ac:chgData name="Pronk, Carolien" userId="0d88beb2-f397-4226-8868-aeeb6f0bba43" providerId="ADAL" clId="{CF69AF42-8272-4DD0-8DDF-6C427CEE1F4D}" dt="2023-10-08T20:54:21.744" v="11556" actId="732"/>
          <ac:picMkLst>
            <pc:docMk/>
            <pc:sldMk cId="2370179050" sldId="1147"/>
            <ac:picMk id="6" creationId="{23722C15-A4B4-993E-D7F4-368D380656F7}"/>
          </ac:picMkLst>
        </pc:picChg>
      </pc:sldChg>
      <pc:sldChg chg="modSp mod">
        <pc:chgData name="Pronk, Carolien" userId="0d88beb2-f397-4226-8868-aeeb6f0bba43" providerId="ADAL" clId="{CF69AF42-8272-4DD0-8DDF-6C427CEE1F4D}" dt="2023-10-09T07:04:49.681" v="15326" actId="20577"/>
        <pc:sldMkLst>
          <pc:docMk/>
          <pc:sldMk cId="3609262580" sldId="1149"/>
        </pc:sldMkLst>
        <pc:spChg chg="mod">
          <ac:chgData name="Pronk, Carolien" userId="0d88beb2-f397-4226-8868-aeeb6f0bba43" providerId="ADAL" clId="{CF69AF42-8272-4DD0-8DDF-6C427CEE1F4D}" dt="2023-10-09T07:04:49.681" v="15326" actId="20577"/>
          <ac:spMkLst>
            <pc:docMk/>
            <pc:sldMk cId="3609262580" sldId="1149"/>
            <ac:spMk id="2" creationId="{B6701655-1464-4085-9B5E-CD2405655881}"/>
          </ac:spMkLst>
        </pc:spChg>
        <pc:spChg chg="mod">
          <ac:chgData name="Pronk, Carolien" userId="0d88beb2-f397-4226-8868-aeeb6f0bba43" providerId="ADAL" clId="{CF69AF42-8272-4DD0-8DDF-6C427CEE1F4D}" dt="2023-10-09T07:04:15.294" v="15285" actId="1076"/>
          <ac:spMkLst>
            <pc:docMk/>
            <pc:sldMk cId="3609262580" sldId="1149"/>
            <ac:spMk id="3" creationId="{4C8DB4B1-6D24-5B4F-F7C7-D03565EDD6DE}"/>
          </ac:spMkLst>
        </pc:spChg>
      </pc:sldChg>
      <pc:sldChg chg="addSp delSp modSp mod">
        <pc:chgData name="Pronk, Carolien" userId="0d88beb2-f397-4226-8868-aeeb6f0bba43" providerId="ADAL" clId="{CF69AF42-8272-4DD0-8DDF-6C427CEE1F4D}" dt="2023-10-09T12:01:00.721" v="20329" actId="20577"/>
        <pc:sldMkLst>
          <pc:docMk/>
          <pc:sldMk cId="2563394827" sldId="1150"/>
        </pc:sldMkLst>
        <pc:spChg chg="mod">
          <ac:chgData name="Pronk, Carolien" userId="0d88beb2-f397-4226-8868-aeeb6f0bba43" providerId="ADAL" clId="{CF69AF42-8272-4DD0-8DDF-6C427CEE1F4D}" dt="2023-10-09T12:01:00.721" v="20329" actId="20577"/>
          <ac:spMkLst>
            <pc:docMk/>
            <pc:sldMk cId="2563394827" sldId="1150"/>
            <ac:spMk id="2" creationId="{6A397533-17B7-421A-B2FC-2DA9AB5FF1F0}"/>
          </ac:spMkLst>
        </pc:spChg>
        <pc:spChg chg="mod">
          <ac:chgData name="Pronk, Carolien" userId="0d88beb2-f397-4226-8868-aeeb6f0bba43" providerId="ADAL" clId="{CF69AF42-8272-4DD0-8DDF-6C427CEE1F4D}" dt="2023-10-09T07:06:34.080" v="15678" actId="6549"/>
          <ac:spMkLst>
            <pc:docMk/>
            <pc:sldMk cId="2563394827" sldId="1150"/>
            <ac:spMk id="3" creationId="{D50C15A0-EF94-FD25-0F16-AA4A8715B56D}"/>
          </ac:spMkLst>
        </pc:spChg>
        <pc:picChg chg="del mod">
          <ac:chgData name="Pronk, Carolien" userId="0d88beb2-f397-4226-8868-aeeb6f0bba43" providerId="ADAL" clId="{CF69AF42-8272-4DD0-8DDF-6C427CEE1F4D}" dt="2023-10-09T11:26:40.412" v="19939" actId="478"/>
          <ac:picMkLst>
            <pc:docMk/>
            <pc:sldMk cId="2563394827" sldId="1150"/>
            <ac:picMk id="6" creationId="{ED7A5D03-F107-8CA6-9FBD-B8DF9FFA266F}"/>
          </ac:picMkLst>
        </pc:picChg>
        <pc:picChg chg="add mod">
          <ac:chgData name="Pronk, Carolien" userId="0d88beb2-f397-4226-8868-aeeb6f0bba43" providerId="ADAL" clId="{CF69AF42-8272-4DD0-8DDF-6C427CEE1F4D}" dt="2023-10-09T11:30:57.021" v="19941" actId="1076"/>
          <ac:picMkLst>
            <pc:docMk/>
            <pc:sldMk cId="2563394827" sldId="1150"/>
            <ac:picMk id="7" creationId="{141969B4-8C61-7EAF-FBA5-FB042FA079A1}"/>
          </ac:picMkLst>
        </pc:picChg>
      </pc:sldChg>
      <pc:sldChg chg="addSp delSp modSp mod">
        <pc:chgData name="Pronk, Carolien" userId="0d88beb2-f397-4226-8868-aeeb6f0bba43" providerId="ADAL" clId="{CF69AF42-8272-4DD0-8DDF-6C427CEE1F4D}" dt="2023-10-09T09:03:06.757" v="15698" actId="6549"/>
        <pc:sldMkLst>
          <pc:docMk/>
          <pc:sldMk cId="3675242784" sldId="1151"/>
        </pc:sldMkLst>
        <pc:spChg chg="mod">
          <ac:chgData name="Pronk, Carolien" userId="0d88beb2-f397-4226-8868-aeeb6f0bba43" providerId="ADAL" clId="{CF69AF42-8272-4DD0-8DDF-6C427CEE1F4D}" dt="2023-10-09T09:03:06.757" v="15698" actId="6549"/>
          <ac:spMkLst>
            <pc:docMk/>
            <pc:sldMk cId="3675242784" sldId="1151"/>
            <ac:spMk id="2" creationId="{1791330D-5E9B-56B7-38F9-9FA79015FCBF}"/>
          </ac:spMkLst>
        </pc:spChg>
        <pc:spChg chg="mod">
          <ac:chgData name="Pronk, Carolien" userId="0d88beb2-f397-4226-8868-aeeb6f0bba43" providerId="ADAL" clId="{CF69AF42-8272-4DD0-8DDF-6C427CEE1F4D}" dt="2023-10-09T07:06:00.330" v="15504" actId="403"/>
          <ac:spMkLst>
            <pc:docMk/>
            <pc:sldMk cId="3675242784" sldId="1151"/>
            <ac:spMk id="3" creationId="{F84CF94A-A0AE-2CA2-D5B3-AF96558E4B80}"/>
          </ac:spMkLst>
        </pc:spChg>
        <pc:spChg chg="add del">
          <ac:chgData name="Pronk, Carolien" userId="0d88beb2-f397-4226-8868-aeeb6f0bba43" providerId="ADAL" clId="{CF69AF42-8272-4DD0-8DDF-6C427CEE1F4D}" dt="2023-10-09T06:16:02.863" v="12321"/>
          <ac:spMkLst>
            <pc:docMk/>
            <pc:sldMk cId="3675242784" sldId="1151"/>
            <ac:spMk id="5" creationId="{2313BB7C-401D-87C1-CC6E-125BF21D7D4D}"/>
          </ac:spMkLst>
        </pc:spChg>
        <pc:spChg chg="add del">
          <ac:chgData name="Pronk, Carolien" userId="0d88beb2-f397-4226-8868-aeeb6f0bba43" providerId="ADAL" clId="{CF69AF42-8272-4DD0-8DDF-6C427CEE1F4D}" dt="2023-10-09T06:16:06.113" v="12324"/>
          <ac:spMkLst>
            <pc:docMk/>
            <pc:sldMk cId="3675242784" sldId="1151"/>
            <ac:spMk id="7" creationId="{CB16ACA0-6CCB-73D7-08A7-65E7A5CF404C}"/>
          </ac:spMkLst>
        </pc:spChg>
        <pc:spChg chg="add del">
          <ac:chgData name="Pronk, Carolien" userId="0d88beb2-f397-4226-8868-aeeb6f0bba43" providerId="ADAL" clId="{CF69AF42-8272-4DD0-8DDF-6C427CEE1F4D}" dt="2023-10-09T06:16:17.176" v="12326"/>
          <ac:spMkLst>
            <pc:docMk/>
            <pc:sldMk cId="3675242784" sldId="1151"/>
            <ac:spMk id="8" creationId="{22EF8D2B-C5E4-4128-E85E-FD25850BCC82}"/>
          </ac:spMkLst>
        </pc:spChg>
      </pc:sldChg>
      <pc:sldChg chg="addSp delSp modSp mod modClrScheme chgLayout">
        <pc:chgData name="Pronk, Carolien" userId="0d88beb2-f397-4226-8868-aeeb6f0bba43" providerId="ADAL" clId="{CF69AF42-8272-4DD0-8DDF-6C427CEE1F4D}" dt="2023-10-11T14:38:05.627" v="21713" actId="20577"/>
        <pc:sldMkLst>
          <pc:docMk/>
          <pc:sldMk cId="120670293" sldId="2195"/>
        </pc:sldMkLst>
        <pc:spChg chg="add mod ord">
          <ac:chgData name="Pronk, Carolien" userId="0d88beb2-f397-4226-8868-aeeb6f0bba43" providerId="ADAL" clId="{CF69AF42-8272-4DD0-8DDF-6C427CEE1F4D}" dt="2023-10-09T09:43:13.759" v="17327" actId="700"/>
          <ac:spMkLst>
            <pc:docMk/>
            <pc:sldMk cId="120670293" sldId="2195"/>
            <ac:spMk id="2" creationId="{BEA1409C-9ECC-FFF5-6ED8-82A94529527D}"/>
          </ac:spMkLst>
        </pc:spChg>
        <pc:spChg chg="mod ord">
          <ac:chgData name="Pronk, Carolien" userId="0d88beb2-f397-4226-8868-aeeb6f0bba43" providerId="ADAL" clId="{CF69AF42-8272-4DD0-8DDF-6C427CEE1F4D}" dt="2023-10-09T09:43:13.759" v="17327" actId="700"/>
          <ac:spMkLst>
            <pc:docMk/>
            <pc:sldMk cId="120670293" sldId="2195"/>
            <ac:spMk id="3" creationId="{B38F75D0-5248-8C5B-D922-4E1DD9573202}"/>
          </ac:spMkLst>
        </pc:spChg>
        <pc:spChg chg="mod ord">
          <ac:chgData name="Pronk, Carolien" userId="0d88beb2-f397-4226-8868-aeeb6f0bba43" providerId="ADAL" clId="{CF69AF42-8272-4DD0-8DDF-6C427CEE1F4D}" dt="2023-10-09T09:43:13.759" v="17327" actId="700"/>
          <ac:spMkLst>
            <pc:docMk/>
            <pc:sldMk cId="120670293" sldId="2195"/>
            <ac:spMk id="4" creationId="{2DF9E521-E65C-16B8-B897-0445121537BF}"/>
          </ac:spMkLst>
        </pc:spChg>
        <pc:spChg chg="add mod ord">
          <ac:chgData name="Pronk, Carolien" userId="0d88beb2-f397-4226-8868-aeeb6f0bba43" providerId="ADAL" clId="{CF69AF42-8272-4DD0-8DDF-6C427CEE1F4D}" dt="2023-10-09T09:43:13.759" v="17327" actId="700"/>
          <ac:spMkLst>
            <pc:docMk/>
            <pc:sldMk cId="120670293" sldId="2195"/>
            <ac:spMk id="5" creationId="{0C131217-D290-FAE2-B8F5-AE0CC60253F3}"/>
          </ac:spMkLst>
        </pc:spChg>
        <pc:spChg chg="add mod ord">
          <ac:chgData name="Pronk, Carolien" userId="0d88beb2-f397-4226-8868-aeeb6f0bba43" providerId="ADAL" clId="{CF69AF42-8272-4DD0-8DDF-6C427CEE1F4D}" dt="2023-10-09T09:43:13.759" v="17327" actId="700"/>
          <ac:spMkLst>
            <pc:docMk/>
            <pc:sldMk cId="120670293" sldId="2195"/>
            <ac:spMk id="7" creationId="{D79339EB-977D-28A5-E8D0-6FC73519F01F}"/>
          </ac:spMkLst>
        </pc:spChg>
        <pc:spChg chg="add del">
          <ac:chgData name="Pronk, Carolien" userId="0d88beb2-f397-4226-8868-aeeb6f0bba43" providerId="ADAL" clId="{CF69AF42-8272-4DD0-8DDF-6C427CEE1F4D}" dt="2023-10-11T14:37:28.191" v="21600" actId="478"/>
          <ac:spMkLst>
            <pc:docMk/>
            <pc:sldMk cId="120670293" sldId="2195"/>
            <ac:spMk id="8" creationId="{92FB7F84-F6A5-0491-B23E-16CD957AC996}"/>
          </ac:spMkLst>
        </pc:spChg>
        <pc:spChg chg="add mod">
          <ac:chgData name="Pronk, Carolien" userId="0d88beb2-f397-4226-8868-aeeb6f0bba43" providerId="ADAL" clId="{CF69AF42-8272-4DD0-8DDF-6C427CEE1F4D}" dt="2023-10-11T14:38:05.627" v="21713" actId="20577"/>
          <ac:spMkLst>
            <pc:docMk/>
            <pc:sldMk cId="120670293" sldId="2195"/>
            <ac:spMk id="9" creationId="{EA508E14-C2D6-CC58-E2FA-DF303F1E38A2}"/>
          </ac:spMkLst>
        </pc:spChg>
        <pc:spChg chg="del mod ord">
          <ac:chgData name="Pronk, Carolien" userId="0d88beb2-f397-4226-8868-aeeb6f0bba43" providerId="ADAL" clId="{CF69AF42-8272-4DD0-8DDF-6C427CEE1F4D}" dt="2023-10-09T09:43:13.759" v="17327" actId="700"/>
          <ac:spMkLst>
            <pc:docMk/>
            <pc:sldMk cId="120670293" sldId="2195"/>
            <ac:spMk id="10" creationId="{B7AE8F07-C5BE-ED65-C831-46CA865982DF}"/>
          </ac:spMkLst>
        </pc:spChg>
        <pc:graphicFrameChg chg="del mod ord">
          <ac:chgData name="Pronk, Carolien" userId="0d88beb2-f397-4226-8868-aeeb6f0bba43" providerId="ADAL" clId="{CF69AF42-8272-4DD0-8DDF-6C427CEE1F4D}" dt="2023-10-09T09:43:20.980" v="17328" actId="478"/>
          <ac:graphicFrameMkLst>
            <pc:docMk/>
            <pc:sldMk cId="120670293" sldId="2195"/>
            <ac:graphicFrameMk id="6" creationId="{D1311398-3081-A6D0-613A-97F5C3BBB964}"/>
          </ac:graphicFrameMkLst>
        </pc:graphicFrameChg>
      </pc:sldChg>
      <pc:sldChg chg="del">
        <pc:chgData name="Pronk, Carolien" userId="0d88beb2-f397-4226-8868-aeeb6f0bba43" providerId="ADAL" clId="{CF69AF42-8272-4DD0-8DDF-6C427CEE1F4D}" dt="2023-10-08T20:48:20.808" v="11032" actId="47"/>
        <pc:sldMkLst>
          <pc:docMk/>
          <pc:sldMk cId="3428599078" sldId="2224"/>
        </pc:sldMkLst>
      </pc:sldChg>
      <pc:sldChg chg="modSp del mod">
        <pc:chgData name="Pronk, Carolien" userId="0d88beb2-f397-4226-8868-aeeb6f0bba43" providerId="ADAL" clId="{CF69AF42-8272-4DD0-8DDF-6C427CEE1F4D}" dt="2023-10-09T07:00:42.130" v="15045" actId="47"/>
        <pc:sldMkLst>
          <pc:docMk/>
          <pc:sldMk cId="3291277853" sldId="2225"/>
        </pc:sldMkLst>
        <pc:spChg chg="mod">
          <ac:chgData name="Pronk, Carolien" userId="0d88beb2-f397-4226-8868-aeeb6f0bba43" providerId="ADAL" clId="{CF69AF42-8272-4DD0-8DDF-6C427CEE1F4D}" dt="2023-10-09T06:59:38.965" v="14872" actId="20577"/>
          <ac:spMkLst>
            <pc:docMk/>
            <pc:sldMk cId="3291277853" sldId="2225"/>
            <ac:spMk id="6" creationId="{4369FAA9-EE3E-4E08-A23D-822A2DB5BA15}"/>
          </ac:spMkLst>
        </pc:spChg>
      </pc:sldChg>
      <pc:sldChg chg="new del">
        <pc:chgData name="Pronk, Carolien" userId="0d88beb2-f397-4226-8868-aeeb6f0bba43" providerId="ADAL" clId="{CF69AF42-8272-4DD0-8DDF-6C427CEE1F4D}" dt="2023-10-08T20:17:18.279" v="6412" actId="47"/>
        <pc:sldMkLst>
          <pc:docMk/>
          <pc:sldMk cId="1926393073" sldId="2226"/>
        </pc:sldMkLst>
      </pc:sldChg>
      <pc:sldChg chg="addSp delSp modSp new mod modClrScheme chgLayout modNotesTx">
        <pc:chgData name="Pronk, Carolien" userId="0d88beb2-f397-4226-8868-aeeb6f0bba43" providerId="ADAL" clId="{CF69AF42-8272-4DD0-8DDF-6C427CEE1F4D}" dt="2023-10-09T06:39:56.526" v="13135" actId="20577"/>
        <pc:sldMkLst>
          <pc:docMk/>
          <pc:sldMk cId="2224596855" sldId="2227"/>
        </pc:sldMkLst>
        <pc:spChg chg="mod ord">
          <ac:chgData name="Pronk, Carolien" userId="0d88beb2-f397-4226-8868-aeeb6f0bba43" providerId="ADAL" clId="{CF69AF42-8272-4DD0-8DDF-6C427CEE1F4D}" dt="2023-10-09T06:38:55.340" v="13099" actId="207"/>
          <ac:spMkLst>
            <pc:docMk/>
            <pc:sldMk cId="2224596855" sldId="2227"/>
            <ac:spMk id="2" creationId="{2A1746FD-0550-44DE-918F-91037BAA3F42}"/>
          </ac:spMkLst>
        </pc:spChg>
        <pc:spChg chg="mod ord">
          <ac:chgData name="Pronk, Carolien" userId="0d88beb2-f397-4226-8868-aeeb6f0bba43" providerId="ADAL" clId="{CF69AF42-8272-4DD0-8DDF-6C427CEE1F4D}" dt="2023-10-08T20:03:31.231" v="5465" actId="700"/>
          <ac:spMkLst>
            <pc:docMk/>
            <pc:sldMk cId="2224596855" sldId="2227"/>
            <ac:spMk id="3" creationId="{A1469938-1851-B3DA-D737-36076726B2FD}"/>
          </ac:spMkLst>
        </pc:spChg>
        <pc:spChg chg="add mod ord">
          <ac:chgData name="Pronk, Carolien" userId="0d88beb2-f397-4226-8868-aeeb6f0bba43" providerId="ADAL" clId="{CF69AF42-8272-4DD0-8DDF-6C427CEE1F4D}" dt="2023-10-09T06:39:56.526" v="13135" actId="20577"/>
          <ac:spMkLst>
            <pc:docMk/>
            <pc:sldMk cId="2224596855" sldId="2227"/>
            <ac:spMk id="6" creationId="{E1466F09-B143-E7B4-7FB8-4ACD45862BED}"/>
          </ac:spMkLst>
        </pc:spChg>
        <pc:graphicFrameChg chg="add del">
          <ac:chgData name="Pronk, Carolien" userId="0d88beb2-f397-4226-8868-aeeb6f0bba43" providerId="ADAL" clId="{CF69AF42-8272-4DD0-8DDF-6C427CEE1F4D}" dt="2023-10-08T19:55:03.456" v="5249" actId="3680"/>
          <ac:graphicFrameMkLst>
            <pc:docMk/>
            <pc:sldMk cId="2224596855" sldId="2227"/>
            <ac:graphicFrameMk id="4" creationId="{E36D70C0-D4B3-CF80-C011-FBDE9A83E117}"/>
          </ac:graphicFrameMkLst>
        </pc:graphicFrameChg>
        <pc:graphicFrameChg chg="add mod modGraphic">
          <ac:chgData name="Pronk, Carolien" userId="0d88beb2-f397-4226-8868-aeeb6f0bba43" providerId="ADAL" clId="{CF69AF42-8272-4DD0-8DDF-6C427CEE1F4D}" dt="2023-10-09T06:39:40.366" v="13132" actId="403"/>
          <ac:graphicFrameMkLst>
            <pc:docMk/>
            <pc:sldMk cId="2224596855" sldId="2227"/>
            <ac:graphicFrameMk id="5" creationId="{2C4B2517-96DC-2B87-8BB5-9D41116D220B}"/>
          </ac:graphicFrameMkLst>
        </pc:graphicFrameChg>
      </pc:sldChg>
      <pc:sldChg chg="addSp modSp new mod modClrScheme chgLayout">
        <pc:chgData name="Pronk, Carolien" userId="0d88beb2-f397-4226-8868-aeeb6f0bba43" providerId="ADAL" clId="{CF69AF42-8272-4DD0-8DDF-6C427CEE1F4D}" dt="2023-10-10T11:40:23.659" v="21598" actId="20577"/>
        <pc:sldMkLst>
          <pc:docMk/>
          <pc:sldMk cId="2148687376" sldId="2228"/>
        </pc:sldMkLst>
        <pc:spChg chg="mod ord">
          <ac:chgData name="Pronk, Carolien" userId="0d88beb2-f397-4226-8868-aeeb6f0bba43" providerId="ADAL" clId="{CF69AF42-8272-4DD0-8DDF-6C427CEE1F4D}" dt="2023-10-09T06:28:03.749" v="12725" actId="700"/>
          <ac:spMkLst>
            <pc:docMk/>
            <pc:sldMk cId="2148687376" sldId="2228"/>
            <ac:spMk id="2" creationId="{2C48A6AE-2486-7DBD-62DD-DF5B3E112972}"/>
          </ac:spMkLst>
        </pc:spChg>
        <pc:spChg chg="mod ord">
          <ac:chgData name="Pronk, Carolien" userId="0d88beb2-f397-4226-8868-aeeb6f0bba43" providerId="ADAL" clId="{CF69AF42-8272-4DD0-8DDF-6C427CEE1F4D}" dt="2023-10-09T06:41:16.204" v="13142" actId="403"/>
          <ac:spMkLst>
            <pc:docMk/>
            <pc:sldMk cId="2148687376" sldId="2228"/>
            <ac:spMk id="3" creationId="{5610F9E7-F1B2-BACC-364E-1BB4774B81AB}"/>
          </ac:spMkLst>
        </pc:spChg>
        <pc:spChg chg="add mod ord">
          <ac:chgData name="Pronk, Carolien" userId="0d88beb2-f397-4226-8868-aeeb6f0bba43" providerId="ADAL" clId="{CF69AF42-8272-4DD0-8DDF-6C427CEE1F4D}" dt="2023-10-10T11:40:23.659" v="21598" actId="20577"/>
          <ac:spMkLst>
            <pc:docMk/>
            <pc:sldMk cId="2148687376" sldId="2228"/>
            <ac:spMk id="4" creationId="{723B3F6B-0F6D-3B3D-E5F1-89CD9D4DC62F}"/>
          </ac:spMkLst>
        </pc:spChg>
        <pc:picChg chg="add mod">
          <ac:chgData name="Pronk, Carolien" userId="0d88beb2-f397-4226-8868-aeeb6f0bba43" providerId="ADAL" clId="{CF69AF42-8272-4DD0-8DDF-6C427CEE1F4D}" dt="2023-10-09T10:48:18.923" v="19670" actId="1076"/>
          <ac:picMkLst>
            <pc:docMk/>
            <pc:sldMk cId="2148687376" sldId="2228"/>
            <ac:picMk id="6" creationId="{31588EBD-C485-0AE9-2FF8-513563AA1EB7}"/>
          </ac:picMkLst>
        </pc:picChg>
      </pc:sldChg>
      <pc:sldChg chg="addSp delSp modSp new mod modClrScheme chgLayout">
        <pc:chgData name="Pronk, Carolien" userId="0d88beb2-f397-4226-8868-aeeb6f0bba43" providerId="ADAL" clId="{CF69AF42-8272-4DD0-8DDF-6C427CEE1F4D}" dt="2023-10-09T10:01:19.181" v="18821" actId="931"/>
        <pc:sldMkLst>
          <pc:docMk/>
          <pc:sldMk cId="1540094942" sldId="2229"/>
        </pc:sldMkLst>
        <pc:spChg chg="del">
          <ac:chgData name="Pronk, Carolien" userId="0d88beb2-f397-4226-8868-aeeb6f0bba43" providerId="ADAL" clId="{CF69AF42-8272-4DD0-8DDF-6C427CEE1F4D}" dt="2023-10-09T09:47:45.260" v="17421" actId="700"/>
          <ac:spMkLst>
            <pc:docMk/>
            <pc:sldMk cId="1540094942" sldId="2229"/>
            <ac:spMk id="2" creationId="{33ED2FF1-411D-A522-95A0-8AD7B62C9A9D}"/>
          </ac:spMkLst>
        </pc:spChg>
        <pc:spChg chg="del mod ord">
          <ac:chgData name="Pronk, Carolien" userId="0d88beb2-f397-4226-8868-aeeb6f0bba43" providerId="ADAL" clId="{CF69AF42-8272-4DD0-8DDF-6C427CEE1F4D}" dt="2023-10-09T09:47:45.260" v="17421" actId="700"/>
          <ac:spMkLst>
            <pc:docMk/>
            <pc:sldMk cId="1540094942" sldId="2229"/>
            <ac:spMk id="3" creationId="{657AFB9E-EA2A-A288-4FAA-6535EAC9E5A3}"/>
          </ac:spMkLst>
        </pc:spChg>
        <pc:spChg chg="del mod ord">
          <ac:chgData name="Pronk, Carolien" userId="0d88beb2-f397-4226-8868-aeeb6f0bba43" providerId="ADAL" clId="{CF69AF42-8272-4DD0-8DDF-6C427CEE1F4D}" dt="2023-10-09T09:47:45.260" v="17421" actId="700"/>
          <ac:spMkLst>
            <pc:docMk/>
            <pc:sldMk cId="1540094942" sldId="2229"/>
            <ac:spMk id="4" creationId="{470442E6-CB5A-46EB-1C1F-8BBB774AD517}"/>
          </ac:spMkLst>
        </pc:spChg>
        <pc:spChg chg="del">
          <ac:chgData name="Pronk, Carolien" userId="0d88beb2-f397-4226-8868-aeeb6f0bba43" providerId="ADAL" clId="{CF69AF42-8272-4DD0-8DDF-6C427CEE1F4D}" dt="2023-10-09T09:47:45.260" v="17421" actId="700"/>
          <ac:spMkLst>
            <pc:docMk/>
            <pc:sldMk cId="1540094942" sldId="2229"/>
            <ac:spMk id="5" creationId="{7616F9B0-C00D-0D68-54A6-FAD013F0BB90}"/>
          </ac:spMkLst>
        </pc:spChg>
        <pc:spChg chg="mod ord">
          <ac:chgData name="Pronk, Carolien" userId="0d88beb2-f397-4226-8868-aeeb6f0bba43" providerId="ADAL" clId="{CF69AF42-8272-4DD0-8DDF-6C427CEE1F4D}" dt="2023-10-09T09:47:45.260" v="17421" actId="700"/>
          <ac:spMkLst>
            <pc:docMk/>
            <pc:sldMk cId="1540094942" sldId="2229"/>
            <ac:spMk id="6" creationId="{ACE4275F-0A01-03F0-7E82-A7DCCB8D3C92}"/>
          </ac:spMkLst>
        </pc:spChg>
        <pc:spChg chg="mod ord">
          <ac:chgData name="Pronk, Carolien" userId="0d88beb2-f397-4226-8868-aeeb6f0bba43" providerId="ADAL" clId="{CF69AF42-8272-4DD0-8DDF-6C427CEE1F4D}" dt="2023-10-09T09:59:53.018" v="18820" actId="403"/>
          <ac:spMkLst>
            <pc:docMk/>
            <pc:sldMk cId="1540094942" sldId="2229"/>
            <ac:spMk id="7" creationId="{504798C2-A2C0-AD1D-16B0-82379980C55B}"/>
          </ac:spMkLst>
        </pc:spChg>
        <pc:spChg chg="add mod ord">
          <ac:chgData name="Pronk, Carolien" userId="0d88beb2-f397-4226-8868-aeeb6f0bba43" providerId="ADAL" clId="{CF69AF42-8272-4DD0-8DDF-6C427CEE1F4D}" dt="2023-10-09T09:57:13.519" v="18714" actId="27636"/>
          <ac:spMkLst>
            <pc:docMk/>
            <pc:sldMk cId="1540094942" sldId="2229"/>
            <ac:spMk id="8" creationId="{24E1D730-D1BC-CF34-24AD-3011CFA6AE4B}"/>
          </ac:spMkLst>
        </pc:spChg>
        <pc:spChg chg="add del mod ord">
          <ac:chgData name="Pronk, Carolien" userId="0d88beb2-f397-4226-8868-aeeb6f0bba43" providerId="ADAL" clId="{CF69AF42-8272-4DD0-8DDF-6C427CEE1F4D}" dt="2023-10-09T10:01:19.181" v="18821" actId="931"/>
          <ac:spMkLst>
            <pc:docMk/>
            <pc:sldMk cId="1540094942" sldId="2229"/>
            <ac:spMk id="9" creationId="{04BE7C69-AB7C-23D6-0A38-3566AC7C68DF}"/>
          </ac:spMkLst>
        </pc:spChg>
        <pc:picChg chg="add mod">
          <ac:chgData name="Pronk, Carolien" userId="0d88beb2-f397-4226-8868-aeeb6f0bba43" providerId="ADAL" clId="{CF69AF42-8272-4DD0-8DDF-6C427CEE1F4D}" dt="2023-10-09T10:01:19.181" v="18821" actId="931"/>
          <ac:picMkLst>
            <pc:docMk/>
            <pc:sldMk cId="1540094942" sldId="2229"/>
            <ac:picMk id="11" creationId="{DE672F7E-7C5E-A780-58D1-2FA052175C4C}"/>
          </ac:picMkLst>
        </pc:picChg>
      </pc:sldChg>
      <pc:sldChg chg="addSp delSp modSp add mod modClrScheme chgLayout">
        <pc:chgData name="Pronk, Carolien" userId="0d88beb2-f397-4226-8868-aeeb6f0bba43" providerId="ADAL" clId="{CF69AF42-8272-4DD0-8DDF-6C427CEE1F4D}" dt="2023-10-09T10:02:57.727" v="18828" actId="26606"/>
        <pc:sldMkLst>
          <pc:docMk/>
          <pc:sldMk cId="1529341583" sldId="2230"/>
        </pc:sldMkLst>
        <pc:spChg chg="mod ord">
          <ac:chgData name="Pronk, Carolien" userId="0d88beb2-f397-4226-8868-aeeb6f0bba43" providerId="ADAL" clId="{CF69AF42-8272-4DD0-8DDF-6C427CEE1F4D}" dt="2023-10-09T09:58:23.704" v="18742" actId="26606"/>
          <ac:spMkLst>
            <pc:docMk/>
            <pc:sldMk cId="1529341583" sldId="2230"/>
            <ac:spMk id="6" creationId="{ACE4275F-0A01-03F0-7E82-A7DCCB8D3C92}"/>
          </ac:spMkLst>
        </pc:spChg>
        <pc:spChg chg="mod ord">
          <ac:chgData name="Pronk, Carolien" userId="0d88beb2-f397-4226-8868-aeeb6f0bba43" providerId="ADAL" clId="{CF69AF42-8272-4DD0-8DDF-6C427CEE1F4D}" dt="2023-10-09T10:02:57.727" v="18828" actId="26606"/>
          <ac:spMkLst>
            <pc:docMk/>
            <pc:sldMk cId="1529341583" sldId="2230"/>
            <ac:spMk id="7" creationId="{504798C2-A2C0-AD1D-16B0-82379980C55B}"/>
          </ac:spMkLst>
        </pc:spChg>
        <pc:spChg chg="mod">
          <ac:chgData name="Pronk, Carolien" userId="0d88beb2-f397-4226-8868-aeeb6f0bba43" providerId="ADAL" clId="{CF69AF42-8272-4DD0-8DDF-6C427CEE1F4D}" dt="2023-10-09T09:58:23.704" v="18742" actId="26606"/>
          <ac:spMkLst>
            <pc:docMk/>
            <pc:sldMk cId="1529341583" sldId="2230"/>
            <ac:spMk id="8" creationId="{24E1D730-D1BC-CF34-24AD-3011CFA6AE4B}"/>
          </ac:spMkLst>
        </pc:spChg>
        <pc:spChg chg="del">
          <ac:chgData name="Pronk, Carolien" userId="0d88beb2-f397-4226-8868-aeeb6f0bba43" providerId="ADAL" clId="{CF69AF42-8272-4DD0-8DDF-6C427CEE1F4D}" dt="2023-10-09T09:58:23.704" v="18742" actId="26606"/>
          <ac:spMkLst>
            <pc:docMk/>
            <pc:sldMk cId="1529341583" sldId="2230"/>
            <ac:spMk id="9" creationId="{04BE7C69-AB7C-23D6-0A38-3566AC7C68DF}"/>
          </ac:spMkLst>
        </pc:spChg>
        <pc:spChg chg="add mod">
          <ac:chgData name="Pronk, Carolien" userId="0d88beb2-f397-4226-8868-aeeb6f0bba43" providerId="ADAL" clId="{CF69AF42-8272-4DD0-8DDF-6C427CEE1F4D}" dt="2023-10-09T10:02:57.727" v="18828" actId="26606"/>
          <ac:spMkLst>
            <pc:docMk/>
            <pc:sldMk cId="1529341583" sldId="2230"/>
            <ac:spMk id="14" creationId="{59D842AA-30A9-3560-449C-DE273769AEE2}"/>
          </ac:spMkLst>
        </pc:spChg>
        <pc:picChg chg="add del mod">
          <ac:chgData name="Pronk, Carolien" userId="0d88beb2-f397-4226-8868-aeeb6f0bba43" providerId="ADAL" clId="{CF69AF42-8272-4DD0-8DDF-6C427CEE1F4D}" dt="2023-10-09T10:02:07.206" v="18825" actId="478"/>
          <ac:picMkLst>
            <pc:docMk/>
            <pc:sldMk cId="1529341583" sldId="2230"/>
            <ac:picMk id="2" creationId="{E9BEB530-38C5-C14E-7EDB-A3A1EF730018}"/>
          </ac:picMkLst>
        </pc:picChg>
        <pc:picChg chg="add del mod">
          <ac:chgData name="Pronk, Carolien" userId="0d88beb2-f397-4226-8868-aeeb6f0bba43" providerId="ADAL" clId="{CF69AF42-8272-4DD0-8DDF-6C427CEE1F4D}" dt="2023-10-09T10:02:19.794" v="18826" actId="478"/>
          <ac:picMkLst>
            <pc:docMk/>
            <pc:sldMk cId="1529341583" sldId="2230"/>
            <ac:picMk id="4" creationId="{218BC29E-AD4D-C5CE-3777-B676652A6ED5}"/>
          </ac:picMkLst>
        </pc:picChg>
        <pc:picChg chg="add mod ord">
          <ac:chgData name="Pronk, Carolien" userId="0d88beb2-f397-4226-8868-aeeb6f0bba43" providerId="ADAL" clId="{CF69AF42-8272-4DD0-8DDF-6C427CEE1F4D}" dt="2023-10-09T10:02:57.727" v="18828" actId="26606"/>
          <ac:picMkLst>
            <pc:docMk/>
            <pc:sldMk cId="1529341583" sldId="2230"/>
            <ac:picMk id="10" creationId="{D782D552-8FD5-4F78-EFB0-2DFAEA467F4E}"/>
          </ac:picMkLst>
        </pc:picChg>
      </pc:sldChg>
      <pc:sldChg chg="modSp new mod">
        <pc:chgData name="Pronk, Carolien" userId="0d88beb2-f397-4226-8868-aeeb6f0bba43" providerId="ADAL" clId="{CF69AF42-8272-4DD0-8DDF-6C427CEE1F4D}" dt="2023-10-09T12:02:17.233" v="20500" actId="20577"/>
        <pc:sldMkLst>
          <pc:docMk/>
          <pc:sldMk cId="29704227" sldId="2231"/>
        </pc:sldMkLst>
        <pc:spChg chg="mod">
          <ac:chgData name="Pronk, Carolien" userId="0d88beb2-f397-4226-8868-aeeb6f0bba43" providerId="ADAL" clId="{CF69AF42-8272-4DD0-8DDF-6C427CEE1F4D}" dt="2023-10-09T12:02:17.233" v="20500" actId="20577"/>
          <ac:spMkLst>
            <pc:docMk/>
            <pc:sldMk cId="29704227" sldId="2231"/>
            <ac:spMk id="2" creationId="{2541E6BD-E639-9420-F4EA-F2BF9250AF36}"/>
          </ac:spMkLst>
        </pc:spChg>
        <pc:spChg chg="mod">
          <ac:chgData name="Pronk, Carolien" userId="0d88beb2-f397-4226-8868-aeeb6f0bba43" providerId="ADAL" clId="{CF69AF42-8272-4DD0-8DDF-6C427CEE1F4D}" dt="2023-10-09T10:20:10.420" v="19259" actId="20577"/>
          <ac:spMkLst>
            <pc:docMk/>
            <pc:sldMk cId="29704227" sldId="2231"/>
            <ac:spMk id="5" creationId="{434C102B-2724-0CF6-B1F2-226228788731}"/>
          </ac:spMkLst>
        </pc:spChg>
      </pc:sldChg>
      <pc:sldChg chg="addSp delSp modSp new mod modNotesTx">
        <pc:chgData name="Pronk, Carolien" userId="0d88beb2-f397-4226-8868-aeeb6f0bba43" providerId="ADAL" clId="{CF69AF42-8272-4DD0-8DDF-6C427CEE1F4D}" dt="2023-10-09T10:45:27.601" v="19667" actId="14100"/>
        <pc:sldMkLst>
          <pc:docMk/>
          <pc:sldMk cId="3588695314" sldId="2232"/>
        </pc:sldMkLst>
        <pc:spChg chg="del">
          <ac:chgData name="Pronk, Carolien" userId="0d88beb2-f397-4226-8868-aeeb6f0bba43" providerId="ADAL" clId="{CF69AF42-8272-4DD0-8DDF-6C427CEE1F4D}" dt="2023-10-09T10:43:17.692" v="19662" actId="22"/>
          <ac:spMkLst>
            <pc:docMk/>
            <pc:sldMk cId="3588695314" sldId="2232"/>
            <ac:spMk id="2" creationId="{F4A2200B-8939-BAF3-FE33-646BB3D30C5D}"/>
          </ac:spMkLst>
        </pc:spChg>
        <pc:spChg chg="mod">
          <ac:chgData name="Pronk, Carolien" userId="0d88beb2-f397-4226-8868-aeeb6f0bba43" providerId="ADAL" clId="{CF69AF42-8272-4DD0-8DDF-6C427CEE1F4D}" dt="2023-10-09T10:45:27.601" v="19667" actId="14100"/>
          <ac:spMkLst>
            <pc:docMk/>
            <pc:sldMk cId="3588695314" sldId="2232"/>
            <ac:spMk id="3" creationId="{2E465D68-DBD5-6133-BBDF-A89820E9C6B0}"/>
          </ac:spMkLst>
        </pc:spChg>
        <pc:picChg chg="add mod ord">
          <ac:chgData name="Pronk, Carolien" userId="0d88beb2-f397-4226-8868-aeeb6f0bba43" providerId="ADAL" clId="{CF69AF42-8272-4DD0-8DDF-6C427CEE1F4D}" dt="2023-10-09T10:44:07.835" v="19666"/>
          <ac:picMkLst>
            <pc:docMk/>
            <pc:sldMk cId="3588695314" sldId="2232"/>
            <ac:picMk id="6" creationId="{88C5A000-C60A-27AD-8ECE-F41381BFB62D}"/>
          </ac:picMkLst>
        </pc:picChg>
      </pc:sldChg>
      <pc:sldChg chg="add del">
        <pc:chgData name="Pronk, Carolien" userId="0d88beb2-f397-4226-8868-aeeb6f0bba43" providerId="ADAL" clId="{CF69AF42-8272-4DD0-8DDF-6C427CEE1F4D}" dt="2023-10-09T10:23:39.732" v="19355"/>
        <pc:sldMkLst>
          <pc:docMk/>
          <pc:sldMk cId="2239753549" sldId="2233"/>
        </pc:sldMkLst>
      </pc:sldChg>
      <pc:sldChg chg="modSp add mod">
        <pc:chgData name="Pronk, Carolien" userId="0d88beb2-f397-4226-8868-aeeb6f0bba43" providerId="ADAL" clId="{CF69AF42-8272-4DD0-8DDF-6C427CEE1F4D}" dt="2023-10-09T10:30:23.853" v="19506" actId="20577"/>
        <pc:sldMkLst>
          <pc:docMk/>
          <pc:sldMk cId="3330327077" sldId="2233"/>
        </pc:sldMkLst>
        <pc:spChg chg="mod">
          <ac:chgData name="Pronk, Carolien" userId="0d88beb2-f397-4226-8868-aeeb6f0bba43" providerId="ADAL" clId="{CF69AF42-8272-4DD0-8DDF-6C427CEE1F4D}" dt="2023-10-09T10:30:23.853" v="19506" actId="20577"/>
          <ac:spMkLst>
            <pc:docMk/>
            <pc:sldMk cId="3330327077" sldId="2233"/>
            <ac:spMk id="3" creationId="{2991E86D-D220-C700-D826-6E4E41C85E36}"/>
          </ac:spMkLst>
        </pc:spChg>
      </pc:sldChg>
      <pc:sldChg chg="modSp add mod">
        <pc:chgData name="Pronk, Carolien" userId="0d88beb2-f397-4226-8868-aeeb6f0bba43" providerId="ADAL" clId="{CF69AF42-8272-4DD0-8DDF-6C427CEE1F4D}" dt="2023-10-09T12:03:08.481" v="20558" actId="20577"/>
        <pc:sldMkLst>
          <pc:docMk/>
          <pc:sldMk cId="2975509199" sldId="2234"/>
        </pc:sldMkLst>
        <pc:spChg chg="mod">
          <ac:chgData name="Pronk, Carolien" userId="0d88beb2-f397-4226-8868-aeeb6f0bba43" providerId="ADAL" clId="{CF69AF42-8272-4DD0-8DDF-6C427CEE1F4D}" dt="2023-10-09T12:03:01.490" v="20556" actId="20577"/>
          <ac:spMkLst>
            <pc:docMk/>
            <pc:sldMk cId="2975509199" sldId="2234"/>
            <ac:spMk id="2" creationId="{6B84AB98-9B45-5953-64B0-0CF5E5CAFB7A}"/>
          </ac:spMkLst>
        </pc:spChg>
        <pc:spChg chg="mod">
          <ac:chgData name="Pronk, Carolien" userId="0d88beb2-f397-4226-8868-aeeb6f0bba43" providerId="ADAL" clId="{CF69AF42-8272-4DD0-8DDF-6C427CEE1F4D}" dt="2023-10-09T12:03:08.481" v="20558" actId="20577"/>
          <ac:spMkLst>
            <pc:docMk/>
            <pc:sldMk cId="2975509199" sldId="2234"/>
            <ac:spMk id="3" creationId="{AEDB8DD3-140D-255C-39F0-40FB2ED01037}"/>
          </ac:spMkLst>
        </pc:spChg>
      </pc:sldChg>
      <pc:sldChg chg="modSp new mod">
        <pc:chgData name="Pronk, Carolien" userId="0d88beb2-f397-4226-8868-aeeb6f0bba43" providerId="ADAL" clId="{CF69AF42-8272-4DD0-8DDF-6C427CEE1F4D}" dt="2023-10-10T08:48:20.924" v="21209" actId="20577"/>
        <pc:sldMkLst>
          <pc:docMk/>
          <pc:sldMk cId="1383701751" sldId="2235"/>
        </pc:sldMkLst>
        <pc:spChg chg="mod">
          <ac:chgData name="Pronk, Carolien" userId="0d88beb2-f397-4226-8868-aeeb6f0bba43" providerId="ADAL" clId="{CF69AF42-8272-4DD0-8DDF-6C427CEE1F4D}" dt="2023-10-10T08:48:20.924" v="21209" actId="20577"/>
          <ac:spMkLst>
            <pc:docMk/>
            <pc:sldMk cId="1383701751" sldId="2235"/>
            <ac:spMk id="2" creationId="{C14D19DF-0B3C-02BC-80C0-C496BA4FB13F}"/>
          </ac:spMkLst>
        </pc:spChg>
        <pc:spChg chg="mod">
          <ac:chgData name="Pronk, Carolien" userId="0d88beb2-f397-4226-8868-aeeb6f0bba43" providerId="ADAL" clId="{CF69AF42-8272-4DD0-8DDF-6C427CEE1F4D}" dt="2023-10-10T08:12:02.578" v="20748" actId="6549"/>
          <ac:spMkLst>
            <pc:docMk/>
            <pc:sldMk cId="1383701751" sldId="2235"/>
            <ac:spMk id="3" creationId="{5316D3DE-5605-CD1F-02FE-9F326ECE7E8F}"/>
          </ac:spMkLst>
        </pc:sp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sv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49.svg"/><Relationship Id="rId1" Type="http://schemas.openxmlformats.org/officeDocument/2006/relationships/image" Target="../media/image48.png"/><Relationship Id="rId6" Type="http://schemas.openxmlformats.org/officeDocument/2006/relationships/image" Target="../media/image53.svg"/><Relationship Id="rId5" Type="http://schemas.openxmlformats.org/officeDocument/2006/relationships/image" Target="../media/image52.png"/><Relationship Id="rId10" Type="http://schemas.openxmlformats.org/officeDocument/2006/relationships/image" Target="../media/image57.svg"/><Relationship Id="rId4" Type="http://schemas.openxmlformats.org/officeDocument/2006/relationships/image" Target="../media/image51.svg"/><Relationship Id="rId9" Type="http://schemas.openxmlformats.org/officeDocument/2006/relationships/image" Target="../media/image56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sv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49.svg"/><Relationship Id="rId1" Type="http://schemas.openxmlformats.org/officeDocument/2006/relationships/image" Target="../media/image48.png"/><Relationship Id="rId6" Type="http://schemas.openxmlformats.org/officeDocument/2006/relationships/image" Target="../media/image53.svg"/><Relationship Id="rId5" Type="http://schemas.openxmlformats.org/officeDocument/2006/relationships/image" Target="../media/image52.png"/><Relationship Id="rId10" Type="http://schemas.openxmlformats.org/officeDocument/2006/relationships/image" Target="../media/image57.svg"/><Relationship Id="rId4" Type="http://schemas.openxmlformats.org/officeDocument/2006/relationships/image" Target="../media/image51.svg"/><Relationship Id="rId9" Type="http://schemas.openxmlformats.org/officeDocument/2006/relationships/image" Target="../media/image56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B854E1F-1489-4DCF-9981-9B80E323905D}" type="doc">
      <dgm:prSet loTypeId="urn:microsoft.com/office/officeart/2018/2/layout/IconCircle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AF8B4B1-87AD-4081-A4BF-1D692B0FD8F4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000" b="0" dirty="0"/>
            <a:t>1. Direct manager</a:t>
          </a:r>
        </a:p>
      </dgm:t>
    </dgm:pt>
    <dgm:pt modelId="{94C38412-F469-466A-8370-33EFBA1F260F}" type="parTrans" cxnId="{862D2A73-3064-46D1-840A-C35E1B027BDD}">
      <dgm:prSet/>
      <dgm:spPr/>
      <dgm:t>
        <a:bodyPr/>
        <a:lstStyle/>
        <a:p>
          <a:endParaRPr lang="en-US"/>
        </a:p>
      </dgm:t>
    </dgm:pt>
    <dgm:pt modelId="{043A85F7-DA65-48C9-AD6F-E0B7F37B01FD}" type="sibTrans" cxnId="{862D2A73-3064-46D1-840A-C35E1B027BDD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BA3E6D0D-17E5-4D14-8A89-C5F3E3BAFCF5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000" b="0" dirty="0"/>
            <a:t>2. Peer Support Team +31 857 60 5798 (24/7 reachable)</a:t>
          </a:r>
        </a:p>
      </dgm:t>
    </dgm:pt>
    <dgm:pt modelId="{AD78B57E-D468-4C6A-9798-D0CED602AF30}" type="parTrans" cxnId="{FBDBB7C0-6C48-4516-AFB6-EA8BD0B3C088}">
      <dgm:prSet/>
      <dgm:spPr/>
      <dgm:t>
        <a:bodyPr/>
        <a:lstStyle/>
        <a:p>
          <a:endParaRPr lang="en-US"/>
        </a:p>
      </dgm:t>
    </dgm:pt>
    <dgm:pt modelId="{E4509FAD-B15F-4EBE-B4DF-FF473F672681}" type="sibTrans" cxnId="{FBDBB7C0-6C48-4516-AFB6-EA8BD0B3C088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7B754D2D-76C8-4B18-81A3-354885E99D42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000" b="0" dirty="0"/>
            <a:t>3.  GP for supportive talks with assistant and referrals for research and treatment</a:t>
          </a:r>
        </a:p>
      </dgm:t>
    </dgm:pt>
    <dgm:pt modelId="{5EBA4D2B-33D8-40D6-8AA0-7E83D1A7E806}" type="parTrans" cxnId="{82412F56-B51C-472B-BBF2-45730D790CE6}">
      <dgm:prSet/>
      <dgm:spPr/>
      <dgm:t>
        <a:bodyPr/>
        <a:lstStyle/>
        <a:p>
          <a:endParaRPr lang="en-US"/>
        </a:p>
      </dgm:t>
    </dgm:pt>
    <dgm:pt modelId="{118B03B2-6D99-4FE1-BDC9-667A1D6C55C5}" type="sibTrans" cxnId="{82412F56-B51C-472B-BBF2-45730D790CE6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8A482D15-0F07-413B-8FF1-02A1DEBEE8DE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000" b="0" i="0" u="none" dirty="0"/>
            <a:t>Externally: call or chat with a MIND  psychologist (9AM-9PM) without payment</a:t>
          </a:r>
          <a:r>
            <a:rPr lang="en-US" sz="2000" b="0" i="0" dirty="0"/>
            <a:t>​</a:t>
          </a:r>
          <a:endParaRPr lang="en-US" sz="2000" b="0" dirty="0"/>
        </a:p>
      </dgm:t>
    </dgm:pt>
    <dgm:pt modelId="{B973FE51-3EB3-4433-B4E8-E05A30C5CCAE}" type="parTrans" cxnId="{515A1FBE-0E9A-49C0-9E2D-AAFF53F48E11}">
      <dgm:prSet/>
      <dgm:spPr/>
      <dgm:t>
        <a:bodyPr/>
        <a:lstStyle/>
        <a:p>
          <a:endParaRPr lang="en-US"/>
        </a:p>
      </dgm:t>
    </dgm:pt>
    <dgm:pt modelId="{26BB16E9-B650-4AC5-89B9-B8FCAE16FA75}" type="sibTrans" cxnId="{515A1FBE-0E9A-49C0-9E2D-AAFF53F48E11}">
      <dgm:prSet/>
      <dgm:spPr/>
      <dgm:t>
        <a:bodyPr/>
        <a:lstStyle/>
        <a:p>
          <a:pPr>
            <a:lnSpc>
              <a:spcPct val="100000"/>
            </a:lnSpc>
          </a:pPr>
          <a:endParaRPr lang="en-US"/>
        </a:p>
      </dgm:t>
    </dgm:pt>
    <dgm:pt modelId="{B05A9A4C-ACE5-4E6B-AB35-AEF50A8BA58F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2000" b="0" i="1" dirty="0" err="1">
              <a:solidFill>
                <a:schemeClr val="tx1"/>
              </a:solidFill>
            </a:rPr>
            <a:t>Dp</a:t>
          </a:r>
          <a:r>
            <a:rPr lang="en-US" sz="2000" b="0" i="1" dirty="0">
              <a:solidFill>
                <a:schemeClr val="tx1"/>
              </a:solidFill>
            </a:rPr>
            <a:t> you doubt your own wellbeing of that of other people in your surrounding, please do not hesitate and ask for professional support</a:t>
          </a:r>
        </a:p>
      </dgm:t>
    </dgm:pt>
    <dgm:pt modelId="{9359CF4F-1BAD-4E69-804D-555D86DF40F6}" type="parTrans" cxnId="{0C700B19-BD7B-4E27-9A87-D592315B01FB}">
      <dgm:prSet/>
      <dgm:spPr/>
      <dgm:t>
        <a:bodyPr/>
        <a:lstStyle/>
        <a:p>
          <a:endParaRPr lang="en-US"/>
        </a:p>
      </dgm:t>
    </dgm:pt>
    <dgm:pt modelId="{5E59CCB7-4AA1-480D-8494-5C7AD962C5AE}" type="sibTrans" cxnId="{0C700B19-BD7B-4E27-9A87-D592315B01FB}">
      <dgm:prSet/>
      <dgm:spPr/>
      <dgm:t>
        <a:bodyPr/>
        <a:lstStyle/>
        <a:p>
          <a:endParaRPr lang="en-US"/>
        </a:p>
      </dgm:t>
    </dgm:pt>
    <dgm:pt modelId="{E2C34411-5B84-470F-B61B-6C21FB81319B}" type="pres">
      <dgm:prSet presAssocID="{CB854E1F-1489-4DCF-9981-9B80E323905D}" presName="root" presStyleCnt="0">
        <dgm:presLayoutVars>
          <dgm:dir/>
          <dgm:resizeHandles val="exact"/>
        </dgm:presLayoutVars>
      </dgm:prSet>
      <dgm:spPr/>
    </dgm:pt>
    <dgm:pt modelId="{2A6A6F2A-1F41-4458-BDEB-66664493CBB4}" type="pres">
      <dgm:prSet presAssocID="{CB854E1F-1489-4DCF-9981-9B80E323905D}" presName="container" presStyleCnt="0">
        <dgm:presLayoutVars>
          <dgm:dir/>
          <dgm:resizeHandles val="exact"/>
        </dgm:presLayoutVars>
      </dgm:prSet>
      <dgm:spPr/>
    </dgm:pt>
    <dgm:pt modelId="{9231BC77-3209-4D1A-BCC1-B0A83E877156}" type="pres">
      <dgm:prSet presAssocID="{1AF8B4B1-87AD-4081-A4BF-1D692B0FD8F4}" presName="compNode" presStyleCnt="0"/>
      <dgm:spPr/>
    </dgm:pt>
    <dgm:pt modelId="{E275E08C-8B9A-4C50-8E9C-C84C6EFD0B45}" type="pres">
      <dgm:prSet presAssocID="{1AF8B4B1-87AD-4081-A4BF-1D692B0FD8F4}" presName="iconBgRect" presStyleLbl="bgShp" presStyleIdx="0" presStyleCnt="5"/>
      <dgm:spPr/>
    </dgm:pt>
    <dgm:pt modelId="{A74831E1-BB74-4592-9EC1-A4329BB05A55}" type="pres">
      <dgm:prSet presAssocID="{1AF8B4B1-87AD-4081-A4BF-1D692B0FD8F4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iërarchie"/>
        </a:ext>
      </dgm:extLst>
    </dgm:pt>
    <dgm:pt modelId="{A0850181-0A61-4130-B9A1-A8B34BEA2570}" type="pres">
      <dgm:prSet presAssocID="{1AF8B4B1-87AD-4081-A4BF-1D692B0FD8F4}" presName="spaceRect" presStyleCnt="0"/>
      <dgm:spPr/>
    </dgm:pt>
    <dgm:pt modelId="{A843492D-0638-436A-BF71-29A0508FDE35}" type="pres">
      <dgm:prSet presAssocID="{1AF8B4B1-87AD-4081-A4BF-1D692B0FD8F4}" presName="textRect" presStyleLbl="revTx" presStyleIdx="0" presStyleCnt="5">
        <dgm:presLayoutVars>
          <dgm:chMax val="1"/>
          <dgm:chPref val="1"/>
        </dgm:presLayoutVars>
      </dgm:prSet>
      <dgm:spPr/>
    </dgm:pt>
    <dgm:pt modelId="{79725D0D-8A55-49D2-B0FC-BBABDDC519D9}" type="pres">
      <dgm:prSet presAssocID="{043A85F7-DA65-48C9-AD6F-E0B7F37B01FD}" presName="sibTrans" presStyleLbl="sibTrans2D1" presStyleIdx="0" presStyleCnt="0"/>
      <dgm:spPr/>
    </dgm:pt>
    <dgm:pt modelId="{0C287639-4B7D-4E49-AEE2-030A79B3995A}" type="pres">
      <dgm:prSet presAssocID="{BA3E6D0D-17E5-4D14-8A89-C5F3E3BAFCF5}" presName="compNode" presStyleCnt="0"/>
      <dgm:spPr/>
    </dgm:pt>
    <dgm:pt modelId="{F9F358D4-4520-42F3-B020-EBE0CCF135DB}" type="pres">
      <dgm:prSet presAssocID="{BA3E6D0D-17E5-4D14-8A89-C5F3E3BAFCF5}" presName="iconBgRect" presStyleLbl="bgShp" presStyleIdx="1" presStyleCnt="5"/>
      <dgm:spPr/>
    </dgm:pt>
    <dgm:pt modelId="{26E23D3E-0E7B-4328-8853-7B35401DAED5}" type="pres">
      <dgm:prSet presAssocID="{BA3E6D0D-17E5-4D14-8A89-C5F3E3BAFCF5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nvelop"/>
        </a:ext>
      </dgm:extLst>
    </dgm:pt>
    <dgm:pt modelId="{45575B6A-2585-4566-A18D-0A61ED0E9B98}" type="pres">
      <dgm:prSet presAssocID="{BA3E6D0D-17E5-4D14-8A89-C5F3E3BAFCF5}" presName="spaceRect" presStyleCnt="0"/>
      <dgm:spPr/>
    </dgm:pt>
    <dgm:pt modelId="{7237F917-0E07-4E8C-8A52-26162D4F67E7}" type="pres">
      <dgm:prSet presAssocID="{BA3E6D0D-17E5-4D14-8A89-C5F3E3BAFCF5}" presName="textRect" presStyleLbl="revTx" presStyleIdx="1" presStyleCnt="5" custScaleX="111857">
        <dgm:presLayoutVars>
          <dgm:chMax val="1"/>
          <dgm:chPref val="1"/>
        </dgm:presLayoutVars>
      </dgm:prSet>
      <dgm:spPr/>
    </dgm:pt>
    <dgm:pt modelId="{809CD7A0-3727-471E-984E-79B8FD44C1F7}" type="pres">
      <dgm:prSet presAssocID="{E4509FAD-B15F-4EBE-B4DF-FF473F672681}" presName="sibTrans" presStyleLbl="sibTrans2D1" presStyleIdx="0" presStyleCnt="0"/>
      <dgm:spPr/>
    </dgm:pt>
    <dgm:pt modelId="{8721A2A0-5FEC-4BED-AC63-B6883D03A2F0}" type="pres">
      <dgm:prSet presAssocID="{7B754D2D-76C8-4B18-81A3-354885E99D42}" presName="compNode" presStyleCnt="0"/>
      <dgm:spPr/>
    </dgm:pt>
    <dgm:pt modelId="{46533903-3CA4-4E3B-9F71-6D0F5E6D63AD}" type="pres">
      <dgm:prSet presAssocID="{7B754D2D-76C8-4B18-81A3-354885E99D42}" presName="iconBgRect" presStyleLbl="bgShp" presStyleIdx="2" presStyleCnt="5"/>
      <dgm:spPr/>
    </dgm:pt>
    <dgm:pt modelId="{EC1B3F66-AC27-4CFD-AE63-D333EFA34CA3}" type="pres">
      <dgm:prSet presAssocID="{7B754D2D-76C8-4B18-81A3-354885E99D42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ethoscoop"/>
        </a:ext>
      </dgm:extLst>
    </dgm:pt>
    <dgm:pt modelId="{97FB3639-ACD0-4D28-897C-7B5F37163D22}" type="pres">
      <dgm:prSet presAssocID="{7B754D2D-76C8-4B18-81A3-354885E99D42}" presName="spaceRect" presStyleCnt="0"/>
      <dgm:spPr/>
    </dgm:pt>
    <dgm:pt modelId="{E885ABF7-F90C-4FD9-A44E-AFC0AF9F76E7}" type="pres">
      <dgm:prSet presAssocID="{7B754D2D-76C8-4B18-81A3-354885E99D42}" presName="textRect" presStyleLbl="revTx" presStyleIdx="2" presStyleCnt="5">
        <dgm:presLayoutVars>
          <dgm:chMax val="1"/>
          <dgm:chPref val="1"/>
        </dgm:presLayoutVars>
      </dgm:prSet>
      <dgm:spPr/>
    </dgm:pt>
    <dgm:pt modelId="{FD9AAB28-8990-46DE-9A3C-5A95A10B5312}" type="pres">
      <dgm:prSet presAssocID="{118B03B2-6D99-4FE1-BDC9-667A1D6C55C5}" presName="sibTrans" presStyleLbl="sibTrans2D1" presStyleIdx="0" presStyleCnt="0"/>
      <dgm:spPr/>
    </dgm:pt>
    <dgm:pt modelId="{B10BFA2F-39F7-45E9-B4A0-AC69A32E89FD}" type="pres">
      <dgm:prSet presAssocID="{8A482D15-0F07-413B-8FF1-02A1DEBEE8DE}" presName="compNode" presStyleCnt="0"/>
      <dgm:spPr/>
    </dgm:pt>
    <dgm:pt modelId="{91348DD2-DEA1-4455-9B58-195437A84008}" type="pres">
      <dgm:prSet presAssocID="{8A482D15-0F07-413B-8FF1-02A1DEBEE8DE}" presName="iconBgRect" presStyleLbl="bgShp" presStyleIdx="3" presStyleCnt="5"/>
      <dgm:spPr/>
    </dgm:pt>
    <dgm:pt modelId="{C3D73202-E751-4F38-AA49-53DEFC484846}" type="pres">
      <dgm:prSet presAssocID="{8A482D15-0F07-413B-8FF1-02A1DEBEE8DE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Venn Diagram"/>
        </a:ext>
      </dgm:extLst>
    </dgm:pt>
    <dgm:pt modelId="{0A99A247-BD43-4418-B68D-1518D41F506F}" type="pres">
      <dgm:prSet presAssocID="{8A482D15-0F07-413B-8FF1-02A1DEBEE8DE}" presName="spaceRect" presStyleCnt="0"/>
      <dgm:spPr/>
    </dgm:pt>
    <dgm:pt modelId="{54293BE5-B7A8-46B1-A1E3-8538ADF9E111}" type="pres">
      <dgm:prSet presAssocID="{8A482D15-0F07-413B-8FF1-02A1DEBEE8DE}" presName="textRect" presStyleLbl="revTx" presStyleIdx="3" presStyleCnt="5" custScaleX="113213">
        <dgm:presLayoutVars>
          <dgm:chMax val="1"/>
          <dgm:chPref val="1"/>
        </dgm:presLayoutVars>
      </dgm:prSet>
      <dgm:spPr/>
    </dgm:pt>
    <dgm:pt modelId="{A4773497-34CD-4949-B245-5F5D52578C21}" type="pres">
      <dgm:prSet presAssocID="{26BB16E9-B650-4AC5-89B9-B8FCAE16FA75}" presName="sibTrans" presStyleLbl="sibTrans2D1" presStyleIdx="0" presStyleCnt="0"/>
      <dgm:spPr/>
    </dgm:pt>
    <dgm:pt modelId="{10C65EE6-BA22-46B4-AD93-1CFB251FF0F1}" type="pres">
      <dgm:prSet presAssocID="{B05A9A4C-ACE5-4E6B-AB35-AEF50A8BA58F}" presName="compNode" presStyleCnt="0"/>
      <dgm:spPr/>
    </dgm:pt>
    <dgm:pt modelId="{E3B81AA0-569F-41F0-BC22-C8450988392A}" type="pres">
      <dgm:prSet presAssocID="{B05A9A4C-ACE5-4E6B-AB35-AEF50A8BA58F}" presName="iconBgRect" presStyleLbl="bgShp" presStyleIdx="4" presStyleCnt="5" custLinFactX="-100000" custLinFactNeighborX="-132692" custLinFactNeighborY="5365"/>
      <dgm:spPr/>
    </dgm:pt>
    <dgm:pt modelId="{5CBEB0A3-5892-4A21-A5A6-FA04F7F32F07}" type="pres">
      <dgm:prSet presAssocID="{B05A9A4C-ACE5-4E6B-AB35-AEF50A8BA58F}" presName="iconRect" presStyleLbl="node1" presStyleIdx="4" presStyleCnt="5" custScaleX="101360" custScaleY="112870" custLinFactX="-181389" custLinFactNeighborX="-200000" custLinFactNeighborY="-3349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onfused Person"/>
        </a:ext>
      </dgm:extLst>
    </dgm:pt>
    <dgm:pt modelId="{32E5CB45-E307-4443-96FE-D0D1B8A5DA58}" type="pres">
      <dgm:prSet presAssocID="{B05A9A4C-ACE5-4E6B-AB35-AEF50A8BA58F}" presName="spaceRect" presStyleCnt="0"/>
      <dgm:spPr/>
    </dgm:pt>
    <dgm:pt modelId="{F91D6F96-7ED8-45D6-92EA-7DD91AEE0CB2}" type="pres">
      <dgm:prSet presAssocID="{B05A9A4C-ACE5-4E6B-AB35-AEF50A8BA58F}" presName="textRect" presStyleLbl="revTx" presStyleIdx="4" presStyleCnt="5" custScaleX="349856" custScaleY="36802" custLinFactNeighborX="53945" custLinFactNeighborY="-350">
        <dgm:presLayoutVars>
          <dgm:chMax val="1"/>
          <dgm:chPref val="1"/>
        </dgm:presLayoutVars>
      </dgm:prSet>
      <dgm:spPr/>
    </dgm:pt>
  </dgm:ptLst>
  <dgm:cxnLst>
    <dgm:cxn modelId="{90BDAA04-4405-47BA-9B37-D72BC79BBF95}" type="presOf" srcId="{7B754D2D-76C8-4B18-81A3-354885E99D42}" destId="{E885ABF7-F90C-4FD9-A44E-AFC0AF9F76E7}" srcOrd="0" destOrd="0" presId="urn:microsoft.com/office/officeart/2018/2/layout/IconCircleList"/>
    <dgm:cxn modelId="{84808F07-7D3C-44BF-B8CA-096C679A45A8}" type="presOf" srcId="{1AF8B4B1-87AD-4081-A4BF-1D692B0FD8F4}" destId="{A843492D-0638-436A-BF71-29A0508FDE35}" srcOrd="0" destOrd="0" presId="urn:microsoft.com/office/officeart/2018/2/layout/IconCircleList"/>
    <dgm:cxn modelId="{0C700B19-BD7B-4E27-9A87-D592315B01FB}" srcId="{CB854E1F-1489-4DCF-9981-9B80E323905D}" destId="{B05A9A4C-ACE5-4E6B-AB35-AEF50A8BA58F}" srcOrd="4" destOrd="0" parTransId="{9359CF4F-1BAD-4E69-804D-555D86DF40F6}" sibTransId="{5E59CCB7-4AA1-480D-8494-5C7AD962C5AE}"/>
    <dgm:cxn modelId="{B76A2A1E-4223-4E59-A97E-60F932BBF41D}" type="presOf" srcId="{E4509FAD-B15F-4EBE-B4DF-FF473F672681}" destId="{809CD7A0-3727-471E-984E-79B8FD44C1F7}" srcOrd="0" destOrd="0" presId="urn:microsoft.com/office/officeart/2018/2/layout/IconCircleList"/>
    <dgm:cxn modelId="{4663364F-64C4-4214-AEA0-4D36E8079B38}" type="presOf" srcId="{CB854E1F-1489-4DCF-9981-9B80E323905D}" destId="{E2C34411-5B84-470F-B61B-6C21FB81319B}" srcOrd="0" destOrd="0" presId="urn:microsoft.com/office/officeart/2018/2/layout/IconCircleList"/>
    <dgm:cxn modelId="{862D2A73-3064-46D1-840A-C35E1B027BDD}" srcId="{CB854E1F-1489-4DCF-9981-9B80E323905D}" destId="{1AF8B4B1-87AD-4081-A4BF-1D692B0FD8F4}" srcOrd="0" destOrd="0" parTransId="{94C38412-F469-466A-8370-33EFBA1F260F}" sibTransId="{043A85F7-DA65-48C9-AD6F-E0B7F37B01FD}"/>
    <dgm:cxn modelId="{82412F56-B51C-472B-BBF2-45730D790CE6}" srcId="{CB854E1F-1489-4DCF-9981-9B80E323905D}" destId="{7B754D2D-76C8-4B18-81A3-354885E99D42}" srcOrd="2" destOrd="0" parTransId="{5EBA4D2B-33D8-40D6-8AA0-7E83D1A7E806}" sibTransId="{118B03B2-6D99-4FE1-BDC9-667A1D6C55C5}"/>
    <dgm:cxn modelId="{6EAEC48D-2DA6-4933-B4DE-AD75AF9E33AF}" type="presOf" srcId="{043A85F7-DA65-48C9-AD6F-E0B7F37B01FD}" destId="{79725D0D-8A55-49D2-B0FC-BBABDDC519D9}" srcOrd="0" destOrd="0" presId="urn:microsoft.com/office/officeart/2018/2/layout/IconCircleList"/>
    <dgm:cxn modelId="{E961389C-988A-44DB-9E75-2BBC776455B5}" type="presOf" srcId="{B05A9A4C-ACE5-4E6B-AB35-AEF50A8BA58F}" destId="{F91D6F96-7ED8-45D6-92EA-7DD91AEE0CB2}" srcOrd="0" destOrd="0" presId="urn:microsoft.com/office/officeart/2018/2/layout/IconCircleList"/>
    <dgm:cxn modelId="{5DAC729E-F1DF-411D-BC75-0A0316CCC7B3}" type="presOf" srcId="{26BB16E9-B650-4AC5-89B9-B8FCAE16FA75}" destId="{A4773497-34CD-4949-B245-5F5D52578C21}" srcOrd="0" destOrd="0" presId="urn:microsoft.com/office/officeart/2018/2/layout/IconCircleList"/>
    <dgm:cxn modelId="{3AABA0A4-5972-444C-9344-53259599E58D}" type="presOf" srcId="{BA3E6D0D-17E5-4D14-8A89-C5F3E3BAFCF5}" destId="{7237F917-0E07-4E8C-8A52-26162D4F67E7}" srcOrd="0" destOrd="0" presId="urn:microsoft.com/office/officeart/2018/2/layout/IconCircleList"/>
    <dgm:cxn modelId="{9F1902AF-808A-4D50-84BE-161E22FC36FB}" type="presOf" srcId="{8A482D15-0F07-413B-8FF1-02A1DEBEE8DE}" destId="{54293BE5-B7A8-46B1-A1E3-8538ADF9E111}" srcOrd="0" destOrd="0" presId="urn:microsoft.com/office/officeart/2018/2/layout/IconCircleList"/>
    <dgm:cxn modelId="{025D6BBC-C7BC-454A-96C7-5852284ED1CE}" type="presOf" srcId="{118B03B2-6D99-4FE1-BDC9-667A1D6C55C5}" destId="{FD9AAB28-8990-46DE-9A3C-5A95A10B5312}" srcOrd="0" destOrd="0" presId="urn:microsoft.com/office/officeart/2018/2/layout/IconCircleList"/>
    <dgm:cxn modelId="{515A1FBE-0E9A-49C0-9E2D-AAFF53F48E11}" srcId="{CB854E1F-1489-4DCF-9981-9B80E323905D}" destId="{8A482D15-0F07-413B-8FF1-02A1DEBEE8DE}" srcOrd="3" destOrd="0" parTransId="{B973FE51-3EB3-4433-B4E8-E05A30C5CCAE}" sibTransId="{26BB16E9-B650-4AC5-89B9-B8FCAE16FA75}"/>
    <dgm:cxn modelId="{FBDBB7C0-6C48-4516-AFB6-EA8BD0B3C088}" srcId="{CB854E1F-1489-4DCF-9981-9B80E323905D}" destId="{BA3E6D0D-17E5-4D14-8A89-C5F3E3BAFCF5}" srcOrd="1" destOrd="0" parTransId="{AD78B57E-D468-4C6A-9798-D0CED602AF30}" sibTransId="{E4509FAD-B15F-4EBE-B4DF-FF473F672681}"/>
    <dgm:cxn modelId="{E0AA476C-53F2-4095-8FAB-661A3E3C9060}" type="presParOf" srcId="{E2C34411-5B84-470F-B61B-6C21FB81319B}" destId="{2A6A6F2A-1F41-4458-BDEB-66664493CBB4}" srcOrd="0" destOrd="0" presId="urn:microsoft.com/office/officeart/2018/2/layout/IconCircleList"/>
    <dgm:cxn modelId="{6A31DC36-498F-4370-8DC5-CB3E640A4902}" type="presParOf" srcId="{2A6A6F2A-1F41-4458-BDEB-66664493CBB4}" destId="{9231BC77-3209-4D1A-BCC1-B0A83E877156}" srcOrd="0" destOrd="0" presId="urn:microsoft.com/office/officeart/2018/2/layout/IconCircleList"/>
    <dgm:cxn modelId="{4C32CC6D-C5C2-4E3B-8345-CBE04F56364A}" type="presParOf" srcId="{9231BC77-3209-4D1A-BCC1-B0A83E877156}" destId="{E275E08C-8B9A-4C50-8E9C-C84C6EFD0B45}" srcOrd="0" destOrd="0" presId="urn:microsoft.com/office/officeart/2018/2/layout/IconCircleList"/>
    <dgm:cxn modelId="{8A35FA8D-5008-4268-8B73-E00A9A904B84}" type="presParOf" srcId="{9231BC77-3209-4D1A-BCC1-B0A83E877156}" destId="{A74831E1-BB74-4592-9EC1-A4329BB05A55}" srcOrd="1" destOrd="0" presId="urn:microsoft.com/office/officeart/2018/2/layout/IconCircleList"/>
    <dgm:cxn modelId="{E4419C20-C1C9-41B0-95AB-A5A64669BE1E}" type="presParOf" srcId="{9231BC77-3209-4D1A-BCC1-B0A83E877156}" destId="{A0850181-0A61-4130-B9A1-A8B34BEA2570}" srcOrd="2" destOrd="0" presId="urn:microsoft.com/office/officeart/2018/2/layout/IconCircleList"/>
    <dgm:cxn modelId="{746A85B9-75FA-44D7-8C69-D39DE039C407}" type="presParOf" srcId="{9231BC77-3209-4D1A-BCC1-B0A83E877156}" destId="{A843492D-0638-436A-BF71-29A0508FDE35}" srcOrd="3" destOrd="0" presId="urn:microsoft.com/office/officeart/2018/2/layout/IconCircleList"/>
    <dgm:cxn modelId="{F540D946-D2D0-4D27-A1F4-30049FC0F995}" type="presParOf" srcId="{2A6A6F2A-1F41-4458-BDEB-66664493CBB4}" destId="{79725D0D-8A55-49D2-B0FC-BBABDDC519D9}" srcOrd="1" destOrd="0" presId="urn:microsoft.com/office/officeart/2018/2/layout/IconCircleList"/>
    <dgm:cxn modelId="{08AA1DA8-2895-41C3-B533-330C9FA23EDA}" type="presParOf" srcId="{2A6A6F2A-1F41-4458-BDEB-66664493CBB4}" destId="{0C287639-4B7D-4E49-AEE2-030A79B3995A}" srcOrd="2" destOrd="0" presId="urn:microsoft.com/office/officeart/2018/2/layout/IconCircleList"/>
    <dgm:cxn modelId="{80DF31BA-303F-4C1B-90C6-7C16D905E907}" type="presParOf" srcId="{0C287639-4B7D-4E49-AEE2-030A79B3995A}" destId="{F9F358D4-4520-42F3-B020-EBE0CCF135DB}" srcOrd="0" destOrd="0" presId="urn:microsoft.com/office/officeart/2018/2/layout/IconCircleList"/>
    <dgm:cxn modelId="{AD8CB0A3-24DA-4BF9-A114-329C103408B6}" type="presParOf" srcId="{0C287639-4B7D-4E49-AEE2-030A79B3995A}" destId="{26E23D3E-0E7B-4328-8853-7B35401DAED5}" srcOrd="1" destOrd="0" presId="urn:microsoft.com/office/officeart/2018/2/layout/IconCircleList"/>
    <dgm:cxn modelId="{A6771521-29A2-4152-A2CA-63381414210D}" type="presParOf" srcId="{0C287639-4B7D-4E49-AEE2-030A79B3995A}" destId="{45575B6A-2585-4566-A18D-0A61ED0E9B98}" srcOrd="2" destOrd="0" presId="urn:microsoft.com/office/officeart/2018/2/layout/IconCircleList"/>
    <dgm:cxn modelId="{DD70A829-05A0-417F-AB28-8A27C44D3F85}" type="presParOf" srcId="{0C287639-4B7D-4E49-AEE2-030A79B3995A}" destId="{7237F917-0E07-4E8C-8A52-26162D4F67E7}" srcOrd="3" destOrd="0" presId="urn:microsoft.com/office/officeart/2018/2/layout/IconCircleList"/>
    <dgm:cxn modelId="{2FE4C100-3E0A-476D-A4A8-BE23F4AF0CC8}" type="presParOf" srcId="{2A6A6F2A-1F41-4458-BDEB-66664493CBB4}" destId="{809CD7A0-3727-471E-984E-79B8FD44C1F7}" srcOrd="3" destOrd="0" presId="urn:microsoft.com/office/officeart/2018/2/layout/IconCircleList"/>
    <dgm:cxn modelId="{544ECC8A-4A24-4249-A781-BFBB58200921}" type="presParOf" srcId="{2A6A6F2A-1F41-4458-BDEB-66664493CBB4}" destId="{8721A2A0-5FEC-4BED-AC63-B6883D03A2F0}" srcOrd="4" destOrd="0" presId="urn:microsoft.com/office/officeart/2018/2/layout/IconCircleList"/>
    <dgm:cxn modelId="{44997D6D-0AC3-4713-B60F-E0E9B6D0CCB4}" type="presParOf" srcId="{8721A2A0-5FEC-4BED-AC63-B6883D03A2F0}" destId="{46533903-3CA4-4E3B-9F71-6D0F5E6D63AD}" srcOrd="0" destOrd="0" presId="urn:microsoft.com/office/officeart/2018/2/layout/IconCircleList"/>
    <dgm:cxn modelId="{9F55FBAC-3B2A-44F3-A8FD-905335B77D1F}" type="presParOf" srcId="{8721A2A0-5FEC-4BED-AC63-B6883D03A2F0}" destId="{EC1B3F66-AC27-4CFD-AE63-D333EFA34CA3}" srcOrd="1" destOrd="0" presId="urn:microsoft.com/office/officeart/2018/2/layout/IconCircleList"/>
    <dgm:cxn modelId="{E9E8781E-3EFA-46A7-8B92-FA9619C4C97D}" type="presParOf" srcId="{8721A2A0-5FEC-4BED-AC63-B6883D03A2F0}" destId="{97FB3639-ACD0-4D28-897C-7B5F37163D22}" srcOrd="2" destOrd="0" presId="urn:microsoft.com/office/officeart/2018/2/layout/IconCircleList"/>
    <dgm:cxn modelId="{D6BF8731-EE36-4165-9D4E-2BC5EC2EBC89}" type="presParOf" srcId="{8721A2A0-5FEC-4BED-AC63-B6883D03A2F0}" destId="{E885ABF7-F90C-4FD9-A44E-AFC0AF9F76E7}" srcOrd="3" destOrd="0" presId="urn:microsoft.com/office/officeart/2018/2/layout/IconCircleList"/>
    <dgm:cxn modelId="{547B6F45-8968-4351-B698-9BF3CB0AFECD}" type="presParOf" srcId="{2A6A6F2A-1F41-4458-BDEB-66664493CBB4}" destId="{FD9AAB28-8990-46DE-9A3C-5A95A10B5312}" srcOrd="5" destOrd="0" presId="urn:microsoft.com/office/officeart/2018/2/layout/IconCircleList"/>
    <dgm:cxn modelId="{CB079318-FBFE-4192-A7DC-D83657B9C8DD}" type="presParOf" srcId="{2A6A6F2A-1F41-4458-BDEB-66664493CBB4}" destId="{B10BFA2F-39F7-45E9-B4A0-AC69A32E89FD}" srcOrd="6" destOrd="0" presId="urn:microsoft.com/office/officeart/2018/2/layout/IconCircleList"/>
    <dgm:cxn modelId="{FD8E741F-2C49-475D-BD9A-AD730A3AFAD4}" type="presParOf" srcId="{B10BFA2F-39F7-45E9-B4A0-AC69A32E89FD}" destId="{91348DD2-DEA1-4455-9B58-195437A84008}" srcOrd="0" destOrd="0" presId="urn:microsoft.com/office/officeart/2018/2/layout/IconCircleList"/>
    <dgm:cxn modelId="{C462D537-211E-4371-A713-29F7269FE962}" type="presParOf" srcId="{B10BFA2F-39F7-45E9-B4A0-AC69A32E89FD}" destId="{C3D73202-E751-4F38-AA49-53DEFC484846}" srcOrd="1" destOrd="0" presId="urn:microsoft.com/office/officeart/2018/2/layout/IconCircleList"/>
    <dgm:cxn modelId="{AF12D545-BF4B-493E-A411-EA31D011BA45}" type="presParOf" srcId="{B10BFA2F-39F7-45E9-B4A0-AC69A32E89FD}" destId="{0A99A247-BD43-4418-B68D-1518D41F506F}" srcOrd="2" destOrd="0" presId="urn:microsoft.com/office/officeart/2018/2/layout/IconCircleList"/>
    <dgm:cxn modelId="{1DE139E3-704D-42FE-B89B-B8E2FD3DED7B}" type="presParOf" srcId="{B10BFA2F-39F7-45E9-B4A0-AC69A32E89FD}" destId="{54293BE5-B7A8-46B1-A1E3-8538ADF9E111}" srcOrd="3" destOrd="0" presId="urn:microsoft.com/office/officeart/2018/2/layout/IconCircleList"/>
    <dgm:cxn modelId="{DFAE607D-9FC6-4D0C-9D2B-F549879C47FF}" type="presParOf" srcId="{2A6A6F2A-1F41-4458-BDEB-66664493CBB4}" destId="{A4773497-34CD-4949-B245-5F5D52578C21}" srcOrd="7" destOrd="0" presId="urn:microsoft.com/office/officeart/2018/2/layout/IconCircleList"/>
    <dgm:cxn modelId="{279492EC-A65A-4E7A-845C-2D3A43BB64C2}" type="presParOf" srcId="{2A6A6F2A-1F41-4458-BDEB-66664493CBB4}" destId="{10C65EE6-BA22-46B4-AD93-1CFB251FF0F1}" srcOrd="8" destOrd="0" presId="urn:microsoft.com/office/officeart/2018/2/layout/IconCircleList"/>
    <dgm:cxn modelId="{758085D5-89E4-4448-98C8-B5E5D70ADCC2}" type="presParOf" srcId="{10C65EE6-BA22-46B4-AD93-1CFB251FF0F1}" destId="{E3B81AA0-569F-41F0-BC22-C8450988392A}" srcOrd="0" destOrd="0" presId="urn:microsoft.com/office/officeart/2018/2/layout/IconCircleList"/>
    <dgm:cxn modelId="{064B5E25-845F-42CE-B5DF-B306A72C4FC9}" type="presParOf" srcId="{10C65EE6-BA22-46B4-AD93-1CFB251FF0F1}" destId="{5CBEB0A3-5892-4A21-A5A6-FA04F7F32F07}" srcOrd="1" destOrd="0" presId="urn:microsoft.com/office/officeart/2018/2/layout/IconCircleList"/>
    <dgm:cxn modelId="{08209059-E124-4706-BA41-45285397A36E}" type="presParOf" srcId="{10C65EE6-BA22-46B4-AD93-1CFB251FF0F1}" destId="{32E5CB45-E307-4443-96FE-D0D1B8A5DA58}" srcOrd="2" destOrd="0" presId="urn:microsoft.com/office/officeart/2018/2/layout/IconCircleList"/>
    <dgm:cxn modelId="{9A4E064A-7627-4070-A4FC-3DE6E41E3867}" type="presParOf" srcId="{10C65EE6-BA22-46B4-AD93-1CFB251FF0F1}" destId="{F91D6F96-7ED8-45D6-92EA-7DD91AEE0CB2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75E08C-8B9A-4C50-8E9C-C84C6EFD0B45}">
      <dsp:nvSpPr>
        <dsp:cNvPr id="0" name=""/>
        <dsp:cNvSpPr/>
      </dsp:nvSpPr>
      <dsp:spPr>
        <a:xfrm>
          <a:off x="470144" y="51161"/>
          <a:ext cx="953641" cy="953641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4831E1-BB74-4592-9EC1-A4329BB05A55}">
      <dsp:nvSpPr>
        <dsp:cNvPr id="0" name=""/>
        <dsp:cNvSpPr/>
      </dsp:nvSpPr>
      <dsp:spPr>
        <a:xfrm>
          <a:off x="670409" y="251425"/>
          <a:ext cx="553111" cy="553111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43492D-0638-436A-BF71-29A0508FDE35}">
      <dsp:nvSpPr>
        <dsp:cNvPr id="0" name=""/>
        <dsp:cNvSpPr/>
      </dsp:nvSpPr>
      <dsp:spPr>
        <a:xfrm>
          <a:off x="1628137" y="51161"/>
          <a:ext cx="2247868" cy="9536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kern="1200" dirty="0"/>
            <a:t>1. Direct manager</a:t>
          </a:r>
        </a:p>
      </dsp:txBody>
      <dsp:txXfrm>
        <a:off x="1628137" y="51161"/>
        <a:ext cx="2247868" cy="953641"/>
      </dsp:txXfrm>
    </dsp:sp>
    <dsp:sp modelId="{F9F358D4-4520-42F3-B020-EBE0CCF135DB}">
      <dsp:nvSpPr>
        <dsp:cNvPr id="0" name=""/>
        <dsp:cNvSpPr/>
      </dsp:nvSpPr>
      <dsp:spPr>
        <a:xfrm>
          <a:off x="4267679" y="51161"/>
          <a:ext cx="953641" cy="953641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6E23D3E-0E7B-4328-8853-7B35401DAED5}">
      <dsp:nvSpPr>
        <dsp:cNvPr id="0" name=""/>
        <dsp:cNvSpPr/>
      </dsp:nvSpPr>
      <dsp:spPr>
        <a:xfrm>
          <a:off x="4467944" y="251425"/>
          <a:ext cx="553111" cy="553111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237F917-0E07-4E8C-8A52-26162D4F67E7}">
      <dsp:nvSpPr>
        <dsp:cNvPr id="0" name=""/>
        <dsp:cNvSpPr/>
      </dsp:nvSpPr>
      <dsp:spPr>
        <a:xfrm>
          <a:off x="5292407" y="51161"/>
          <a:ext cx="2514397" cy="9536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kern="1200" dirty="0"/>
            <a:t>2. Peer Support Team +31 857 60 5798 (24/7 reachable)</a:t>
          </a:r>
        </a:p>
      </dsp:txBody>
      <dsp:txXfrm>
        <a:off x="5292407" y="51161"/>
        <a:ext cx="2514397" cy="953641"/>
      </dsp:txXfrm>
    </dsp:sp>
    <dsp:sp modelId="{46533903-3CA4-4E3B-9F71-6D0F5E6D63AD}">
      <dsp:nvSpPr>
        <dsp:cNvPr id="0" name=""/>
        <dsp:cNvSpPr/>
      </dsp:nvSpPr>
      <dsp:spPr>
        <a:xfrm>
          <a:off x="470144" y="1768062"/>
          <a:ext cx="953641" cy="953641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1B3F66-AC27-4CFD-AE63-D333EFA34CA3}">
      <dsp:nvSpPr>
        <dsp:cNvPr id="0" name=""/>
        <dsp:cNvSpPr/>
      </dsp:nvSpPr>
      <dsp:spPr>
        <a:xfrm>
          <a:off x="670409" y="1968327"/>
          <a:ext cx="553111" cy="553111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885ABF7-F90C-4FD9-A44E-AFC0AF9F76E7}">
      <dsp:nvSpPr>
        <dsp:cNvPr id="0" name=""/>
        <dsp:cNvSpPr/>
      </dsp:nvSpPr>
      <dsp:spPr>
        <a:xfrm>
          <a:off x="1628137" y="1768062"/>
          <a:ext cx="2247868" cy="9536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kern="1200" dirty="0"/>
            <a:t>3.  GP for supportive talks with assistant and referrals for research and treatment</a:t>
          </a:r>
        </a:p>
      </dsp:txBody>
      <dsp:txXfrm>
        <a:off x="1628137" y="1768062"/>
        <a:ext cx="2247868" cy="953641"/>
      </dsp:txXfrm>
    </dsp:sp>
    <dsp:sp modelId="{91348DD2-DEA1-4455-9B58-195437A84008}">
      <dsp:nvSpPr>
        <dsp:cNvPr id="0" name=""/>
        <dsp:cNvSpPr/>
      </dsp:nvSpPr>
      <dsp:spPr>
        <a:xfrm>
          <a:off x="4267679" y="1768062"/>
          <a:ext cx="953641" cy="953641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3D73202-E751-4F38-AA49-53DEFC484846}">
      <dsp:nvSpPr>
        <dsp:cNvPr id="0" name=""/>
        <dsp:cNvSpPr/>
      </dsp:nvSpPr>
      <dsp:spPr>
        <a:xfrm>
          <a:off x="4467944" y="1968327"/>
          <a:ext cx="553111" cy="553111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4293BE5-B7A8-46B1-A1E3-8538ADF9E111}">
      <dsp:nvSpPr>
        <dsp:cNvPr id="0" name=""/>
        <dsp:cNvSpPr/>
      </dsp:nvSpPr>
      <dsp:spPr>
        <a:xfrm>
          <a:off x="5277166" y="1768062"/>
          <a:ext cx="2544878" cy="9536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u="none" kern="1200" dirty="0"/>
            <a:t>Externally: call or chat with a MIND  psychologist (9AM-9PM) without payment</a:t>
          </a:r>
          <a:r>
            <a:rPr lang="en-US" sz="2000" b="0" i="0" kern="1200" dirty="0"/>
            <a:t>​</a:t>
          </a:r>
          <a:endParaRPr lang="en-US" sz="2000" b="0" kern="1200" dirty="0"/>
        </a:p>
      </dsp:txBody>
      <dsp:txXfrm>
        <a:off x="5277166" y="1768062"/>
        <a:ext cx="2544878" cy="953641"/>
      </dsp:txXfrm>
    </dsp:sp>
    <dsp:sp modelId="{E3B81AA0-569F-41F0-BC22-C8450988392A}">
      <dsp:nvSpPr>
        <dsp:cNvPr id="0" name=""/>
        <dsp:cNvSpPr/>
      </dsp:nvSpPr>
      <dsp:spPr>
        <a:xfrm>
          <a:off x="0" y="3536124"/>
          <a:ext cx="953641" cy="953641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CBEB0A3-5892-4A21-A5A6-FA04F7F32F07}">
      <dsp:nvSpPr>
        <dsp:cNvPr id="0" name=""/>
        <dsp:cNvSpPr/>
      </dsp:nvSpPr>
      <dsp:spPr>
        <a:xfrm>
          <a:off x="207364" y="3631111"/>
          <a:ext cx="560634" cy="624297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91D6F96-7ED8-45D6-92EA-7DD91AEE0CB2}">
      <dsp:nvSpPr>
        <dsp:cNvPr id="0" name=""/>
        <dsp:cNvSpPr/>
      </dsp:nvSpPr>
      <dsp:spPr>
        <a:xfrm>
          <a:off x="940289" y="3782967"/>
          <a:ext cx="7864301" cy="3509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1" kern="1200" dirty="0" err="1">
              <a:solidFill>
                <a:schemeClr val="tx1"/>
              </a:solidFill>
            </a:rPr>
            <a:t>Dp</a:t>
          </a:r>
          <a:r>
            <a:rPr lang="en-US" sz="2000" b="0" i="1" kern="1200" dirty="0">
              <a:solidFill>
                <a:schemeClr val="tx1"/>
              </a:solidFill>
            </a:rPr>
            <a:t> you doubt your own wellbeing of that of other people in your surrounding, please do not hesitate and ask for professional support</a:t>
          </a:r>
        </a:p>
      </dsp:txBody>
      <dsp:txXfrm>
        <a:off x="940289" y="3782967"/>
        <a:ext cx="7864301" cy="3509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40000" cy="180000"/>
          </a:xfrm>
          <a:prstGeom prst="rect">
            <a:avLst/>
          </a:prstGeom>
        </p:spPr>
        <p:txBody>
          <a:bodyPr vert="horz" lIns="36000" tIns="36000" rIns="36000" bIns="36000" rtlCol="0" anchor="t"/>
          <a:lstStyle>
            <a:lvl1pPr algn="l">
              <a:defRPr sz="1200"/>
            </a:lvl1pPr>
          </a:lstStyle>
          <a:p>
            <a:endParaRPr lang="nl-NL" sz="1000">
              <a:solidFill>
                <a:srgbClr val="666666"/>
              </a:solidFill>
            </a:endParaRPr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5039043" y="8928000"/>
            <a:ext cx="1260000" cy="180000"/>
          </a:xfrm>
          <a:prstGeom prst="rect">
            <a:avLst/>
          </a:prstGeom>
        </p:spPr>
        <p:txBody>
          <a:bodyPr vert="horz" lIns="36000" tIns="36000" rIns="36000" bIns="36000" rtlCol="0" anchor="t"/>
          <a:lstStyle>
            <a:lvl1pPr algn="r">
              <a:defRPr sz="1200"/>
            </a:lvl1pPr>
          </a:lstStyle>
          <a:p>
            <a:fld id="{F8A6EDDB-4CA8-4EA3-ADE6-CFDFABF4FB9A}" type="datetimeFigureOut">
              <a:rPr lang="nl-NL" sz="1000" smtClean="0">
                <a:solidFill>
                  <a:srgbClr val="666666"/>
                </a:solidFill>
              </a:rPr>
              <a:t>11-10-2023</a:t>
            </a:fld>
            <a:endParaRPr lang="nl-NL" sz="1000">
              <a:solidFill>
                <a:srgbClr val="666666"/>
              </a:solidFill>
            </a:endParaRP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928000"/>
            <a:ext cx="4860000" cy="180000"/>
          </a:xfrm>
          <a:prstGeom prst="rect">
            <a:avLst/>
          </a:prstGeom>
        </p:spPr>
        <p:txBody>
          <a:bodyPr vert="horz" lIns="36000" tIns="36000" rIns="36000" bIns="36000" rtlCol="0" anchor="t"/>
          <a:lstStyle>
            <a:lvl1pPr algn="l">
              <a:defRPr sz="1200"/>
            </a:lvl1pPr>
          </a:lstStyle>
          <a:p>
            <a:endParaRPr lang="nl-NL" sz="1000">
              <a:solidFill>
                <a:srgbClr val="666666"/>
              </a:solidFill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6490653" y="8928000"/>
            <a:ext cx="360000" cy="180000"/>
          </a:xfrm>
          <a:prstGeom prst="rect">
            <a:avLst/>
          </a:prstGeom>
        </p:spPr>
        <p:txBody>
          <a:bodyPr vert="horz" lIns="36000" tIns="36000" rIns="36000" bIns="36000" rtlCol="0" anchor="t"/>
          <a:lstStyle>
            <a:lvl1pPr algn="r">
              <a:defRPr sz="1200"/>
            </a:lvl1pPr>
          </a:lstStyle>
          <a:p>
            <a:fld id="{E82EF9D8-DA4B-41AC-9836-DFE59A33309D}" type="slidenum">
              <a:rPr lang="nl-NL" sz="1000" smtClean="0">
                <a:solidFill>
                  <a:srgbClr val="666666"/>
                </a:solidFill>
              </a:rPr>
              <a:t>‹nr.›</a:t>
            </a:fld>
            <a:endParaRPr lang="nl-NL" sz="100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939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6840000" cy="216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5040000" y="8892000"/>
            <a:ext cx="1260000" cy="216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33E5094D-5F8B-4763-AF39-BDD560D990C2}" type="datetimeFigureOut">
              <a:rPr lang="nl-NL" smtClean="0"/>
              <a:pPr/>
              <a:t>11-10-2023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892000"/>
            <a:ext cx="4860000" cy="216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6467793" y="8892000"/>
            <a:ext cx="360000" cy="216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C14639D4-3A97-42A4-AE54-3ADCAC11AA91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12038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88000" indent="-288000" algn="l" defTabSz="288000" rtl="0" eaLnBrk="1" latinLnBrk="0" hangingPunct="1">
      <a:buFont typeface="Arial" panose="020B0604020202020204" pitchFamily="34" charset="0"/>
      <a:buChar char="•"/>
      <a:defRPr sz="1600" kern="1200">
        <a:solidFill>
          <a:schemeClr val="tx2"/>
        </a:solidFill>
        <a:latin typeface="+mn-lt"/>
        <a:ea typeface="+mn-ea"/>
        <a:cs typeface="+mn-cs"/>
      </a:defRPr>
    </a:lvl1pPr>
    <a:lvl2pPr marL="576000" indent="-288000" algn="l" defTabSz="288000" rtl="0" eaLnBrk="1" latinLnBrk="0" hangingPunct="1">
      <a:buFont typeface="Arial" panose="020B0604020202020204" pitchFamily="34" charset="0"/>
      <a:buChar char="•"/>
      <a:defRPr sz="1400" kern="1200">
        <a:solidFill>
          <a:schemeClr val="tx2"/>
        </a:solidFill>
        <a:latin typeface="+mn-lt"/>
        <a:ea typeface="+mn-ea"/>
        <a:cs typeface="+mn-cs"/>
      </a:defRPr>
    </a:lvl2pPr>
    <a:lvl3pPr marL="864000" indent="-288000" algn="l" defTabSz="288000" rtl="0" eaLnBrk="1" latinLnBrk="0" hangingPunct="1">
      <a:buFont typeface="Arial" panose="020B0604020202020204" pitchFamily="34" charset="0"/>
      <a:buChar char="•"/>
      <a:defRPr sz="1400" kern="1200">
        <a:solidFill>
          <a:schemeClr val="tx2"/>
        </a:solidFill>
        <a:latin typeface="+mn-lt"/>
        <a:ea typeface="+mn-ea"/>
        <a:cs typeface="+mn-cs"/>
      </a:defRPr>
    </a:lvl3pPr>
    <a:lvl4pPr marL="1152000" indent="-288000" algn="l" defTabSz="288000" rtl="0" eaLnBrk="1" latinLnBrk="0" hangingPunct="1">
      <a:buFont typeface="Arial" panose="020B0604020202020204" pitchFamily="34" charset="0"/>
      <a:buChar char="•"/>
      <a:defRPr sz="1400" kern="1200">
        <a:solidFill>
          <a:schemeClr val="tx2"/>
        </a:solidFill>
        <a:latin typeface="+mn-lt"/>
        <a:ea typeface="+mn-ea"/>
        <a:cs typeface="+mn-cs"/>
      </a:defRPr>
    </a:lvl4pPr>
    <a:lvl5pPr marL="1440000" indent="-288000" algn="l" defTabSz="288000" rtl="0" eaLnBrk="1" latinLnBrk="0" hangingPunct="1">
      <a:buFont typeface="Arial" panose="020B0604020202020204" pitchFamily="34" charset="0"/>
      <a:buChar char="•"/>
      <a:defRPr sz="1400" kern="1200">
        <a:solidFill>
          <a:schemeClr val="tx2"/>
        </a:solidFill>
        <a:latin typeface="+mn-lt"/>
        <a:ea typeface="+mn-ea"/>
        <a:cs typeface="+mn-cs"/>
      </a:defRPr>
    </a:lvl5pPr>
    <a:lvl6pPr marL="1440000" indent="-288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1440000" indent="-288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440000" indent="-28800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odekruis.nl/nieuwsbericht/herken-je-superpower/" TargetMode="External"/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lnkd.in/dU3vJNn8" TargetMode="External"/><Relationship Id="rId4" Type="http://schemas.openxmlformats.org/officeDocument/2006/relationships/hyperlink" Target="http://youtu.be/9L1Zd3Kb4SA" TargetMode="External"/></Relationships>
</file>

<file path=ppt/notesSlides/_rels/notes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youtu.be/CAzap6hGdUo" TargetMode="External"/><Relationship Id="rId13" Type="http://schemas.openxmlformats.org/officeDocument/2006/relationships/hyperlink" Target="https://youtu.be/5vuFBRJIMZE" TargetMode="External"/><Relationship Id="rId3" Type="http://schemas.openxmlformats.org/officeDocument/2006/relationships/hyperlink" Target="https://youtu.be/vHcgVAUdeuc" TargetMode="External"/><Relationship Id="rId7" Type="http://schemas.openxmlformats.org/officeDocument/2006/relationships/hyperlink" Target="https://youtu.be/PcjDyPxyyvo" TargetMode="External"/><Relationship Id="rId12" Type="http://schemas.openxmlformats.org/officeDocument/2006/relationships/hyperlink" Target="https://youtu.be/RvMkzfQnyZU" TargetMode="External"/><Relationship Id="rId17" Type="http://schemas.openxmlformats.org/officeDocument/2006/relationships/hyperlink" Target="https://eur03.safelinks.protection.outlook.com/?url=https%3A%2F%2Fyoutu.be%2FZt_HfeYT4GM&amp;data=05%7C01%7CCPronk%40redcross.nl%7C0aa5184868d54b80f32d08db14b05b50%7Cd3ab97906ae24bd8aa5e02864483e7c7%7C0%7C0%7C638126519902350796%7CUnknown%7CTWFpbGZsb3d8eyJWIjoiMC4wLjAwMDAiLCJQIjoiV2luMzIiLCJBTiI6Ik1haWwiLCJXVCI6Mn0%3D%7C3000%7C%7C%7C&amp;sdata=kx6%2FbgN%2FWfOGBEDgTAHB%2Bvi3eWOOfZJUqj2isKp%2B4Ro%3D&amp;reserved=0" TargetMode="External"/><Relationship Id="rId2" Type="http://schemas.openxmlformats.org/officeDocument/2006/relationships/slide" Target="../slides/slide29.xml"/><Relationship Id="rId16" Type="http://schemas.openxmlformats.org/officeDocument/2006/relationships/hyperlink" Target="https://youtu.be/Wnf_fhAhaPE" TargetMode="Externa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youtu.be/dl_p6PAOA2o" TargetMode="External"/><Relationship Id="rId11" Type="http://schemas.openxmlformats.org/officeDocument/2006/relationships/hyperlink" Target="https://youtu.be/jKH_k8cBenk" TargetMode="External"/><Relationship Id="rId5" Type="http://schemas.openxmlformats.org/officeDocument/2006/relationships/hyperlink" Target="https://youtu.be/4rkXR3kzLbw" TargetMode="External"/><Relationship Id="rId15" Type="http://schemas.openxmlformats.org/officeDocument/2006/relationships/hyperlink" Target="https://youtu.be/WDA-2qO5mxI" TargetMode="External"/><Relationship Id="rId10" Type="http://schemas.openxmlformats.org/officeDocument/2006/relationships/hyperlink" Target="https://youtu.be/0gbgswNVc9Q" TargetMode="External"/><Relationship Id="rId4" Type="http://schemas.openxmlformats.org/officeDocument/2006/relationships/hyperlink" Target="https://youtu.be/d4db4DWkNuo" TargetMode="External"/><Relationship Id="rId9" Type="http://schemas.openxmlformats.org/officeDocument/2006/relationships/hyperlink" Target="https://youtu.be/bLA1uWixSRw" TargetMode="External"/><Relationship Id="rId14" Type="http://schemas.openxmlformats.org/officeDocument/2006/relationships/hyperlink" Target="https://youtu.be/7W-ojGl0BSM" TargetMode="Externa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odekruis.nl/nieuwsbericht/herken-je-superpower/" TargetMode="External"/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lnkd.in/dU3vJNn8" TargetMode="External"/><Relationship Id="rId4" Type="http://schemas.openxmlformats.org/officeDocument/2006/relationships/hyperlink" Target="http://youtu.be/9L1Zd3Kb4SA" TargetMode="Externa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rodekruis.sharepoint.com/sites/intranet/hulpverlening/nationalehulpverlening/Toolkit/ABS-PMER%20-%20Indicator%20handboek.pdf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639D4-3A97-42A4-AE54-3ADCAC11AA91}" type="slidenum">
              <a:rPr lang="nl-NL" smtClean="0"/>
              <a:pPr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788307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639D4-3A97-42A4-AE54-3ADCAC11AA91}" type="slidenum">
              <a:rPr lang="nl-NL" smtClean="0"/>
              <a:pPr/>
              <a:t>1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118372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639D4-3A97-42A4-AE54-3ADCAC11AA91}" type="slidenum">
              <a:rPr lang="nl-NL" smtClean="0"/>
              <a:pPr/>
              <a:t>1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35461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639D4-3A97-42A4-AE54-3ADCAC11AA91}" type="slidenum">
              <a:rPr lang="nl-NL" smtClean="0"/>
              <a:pPr/>
              <a:t>2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3984437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Importance</a:t>
            </a:r>
            <a:r>
              <a:rPr lang="nl-NL" sz="1600" dirty="0">
                <a:latin typeface="Calibri" panose="020F0502020204030204" pitchFamily="34" charset="0"/>
                <a:cs typeface="Calibri" panose="020F0502020204030204" pitchFamily="34" charset="0"/>
              </a:rPr>
              <a:t> of </a:t>
            </a:r>
            <a:r>
              <a:rPr lang="nl-NL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limitation</a:t>
            </a:r>
            <a:r>
              <a:rPr lang="nl-NL" sz="16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nl-NL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nl-NL" sz="16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therapy</a:t>
            </a:r>
            <a:r>
              <a:rPr lang="nl-NL" sz="1600" dirty="0">
                <a:latin typeface="Calibri" panose="020F0502020204030204" pitchFamily="34" charset="0"/>
                <a:cs typeface="Calibri" panose="020F0502020204030204" pitchFamily="34" charset="0"/>
              </a:rPr>
              <a:t>, trauma treatment or </a:t>
            </a:r>
            <a:r>
              <a:rPr lang="nl-NL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formal</a:t>
            </a:r>
            <a:r>
              <a:rPr lang="nl-NL" sz="16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counselling</a:t>
            </a:r>
            <a:r>
              <a:rPr lang="nl-NL" sz="16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nl-NL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people</a:t>
            </a:r>
            <a:r>
              <a:rPr lang="nl-NL" sz="16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should</a:t>
            </a:r>
            <a:r>
              <a:rPr lang="nl-NL" sz="1600" dirty="0">
                <a:latin typeface="Calibri" panose="020F0502020204030204" pitchFamily="34" charset="0"/>
                <a:cs typeface="Calibri" panose="020F0502020204030204" pitchFamily="34" charset="0"/>
              </a:rPr>
              <a:t> go to </a:t>
            </a:r>
            <a:r>
              <a:rPr lang="nl-NL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their</a:t>
            </a:r>
            <a:r>
              <a:rPr lang="nl-NL" sz="1600" dirty="0">
                <a:latin typeface="Calibri" panose="020F0502020204030204" pitchFamily="34" charset="0"/>
                <a:cs typeface="Calibri" panose="020F0502020204030204" pitchFamily="34" charset="0"/>
              </a:rPr>
              <a:t> GP </a:t>
            </a:r>
          </a:p>
          <a:p>
            <a:pPr marL="0" indent="0">
              <a:buNone/>
            </a:pPr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A2113A-31AF-5E45-AD9B-98A13792C48C}" type="slidenum">
              <a:rPr lang="nl-NL" smtClean="0"/>
              <a:t>2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69511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>
                <a:cs typeface="Calibri" panose="020F0502020204030204"/>
              </a:rPr>
              <a:t>Een goede balans vinden tussen energievreters en </a:t>
            </a:r>
            <a:r>
              <a:rPr lang="nl-NL" err="1">
                <a:cs typeface="Calibri" panose="020F0502020204030204"/>
              </a:rPr>
              <a:t>enegriebronnen</a:t>
            </a:r>
            <a:r>
              <a:rPr lang="nl-NL">
                <a:cs typeface="Calibri" panose="020F0502020204030204"/>
              </a:rPr>
              <a:t>.</a:t>
            </a:r>
          </a:p>
          <a:p>
            <a:pPr marL="0" indent="0">
              <a:buNone/>
            </a:pPr>
            <a:r>
              <a:rPr lang="nl-NL">
                <a:cs typeface="Calibri" panose="020F0502020204030204"/>
              </a:rPr>
              <a:t>Deel uitmaakt 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639D4-3A97-42A4-AE54-3ADCAC11AA91}" type="slidenum">
              <a:rPr lang="nl-NL" smtClean="0"/>
              <a:pPr/>
              <a:t>2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9994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r>
              <a:rPr lang="en-US" dirty="0" err="1">
                <a:hlinkClick r:id="rId3"/>
              </a:rPr>
              <a:t>Vind</a:t>
            </a:r>
            <a:r>
              <a:rPr lang="en-US" dirty="0">
                <a:hlinkClick r:id="rId3"/>
              </a:rPr>
              <a:t> je eigen superpower! - Rode Kruis Nederland</a:t>
            </a:r>
            <a:endParaRPr lang="en-US" dirty="0"/>
          </a:p>
          <a:p>
            <a:pPr>
              <a:buNone/>
            </a:pPr>
            <a:endParaRPr lang="en-US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l-N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l-N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kip de coronadip, 30 december 2021: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l-N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ftrap van #skipdecoronadip marathon editie;  video kunnen jullie vinden middels deze link: </a:t>
            </a:r>
            <a:r>
              <a:rPr lang="nl-NL" sz="1800" dirty="0">
                <a:solidFill>
                  <a:srgbClr val="000000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ttps: //</a:t>
            </a:r>
            <a:r>
              <a:rPr lang="nl-NL" sz="1800" u="sng" dirty="0">
                <a:solidFill>
                  <a:srgbClr val="0000FF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4"/>
              </a:rPr>
              <a:t>youtu.be/9L1Zd3Kb4SA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nl-N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en link naar toelichting campagne bij ad live nieuws updates: </a:t>
            </a:r>
            <a:r>
              <a:rPr lang="nl-NL" sz="1800" u="sng" dirty="0">
                <a:solidFill>
                  <a:srgbClr val="0000FF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5"/>
              </a:rPr>
              <a:t>https://lnkd.in/dU3vJNn8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639D4-3A97-42A4-AE54-3ADCAC11AA91}" type="slidenum">
              <a:rPr lang="nl-NL" smtClean="0"/>
              <a:pPr/>
              <a:t>2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8773482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de Kruis Workshop Stress &amp; Healthy Habits– Arabic (INT) </a:t>
            </a:r>
            <a:r>
              <a:rPr lang="en-US" sz="1800" u="sng" dirty="0">
                <a:solidFill>
                  <a:srgbClr val="0000FF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https://youtu.be/vHcgVAUdeuc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de Kruis Workshop Stress &amp; Healthy Habits – Arabic (NL) </a:t>
            </a:r>
            <a:r>
              <a:rPr lang="en-US" sz="1800" u="sng" dirty="0">
                <a:solidFill>
                  <a:srgbClr val="0000FF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4"/>
              </a:rPr>
              <a:t>https://youtu.be/d4db4DWkNuo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de Kruis Workshop Stress &amp; Healthy Habits – English (INT) </a:t>
            </a:r>
            <a:r>
              <a:rPr lang="en-US" sz="1800" u="sng" dirty="0">
                <a:solidFill>
                  <a:srgbClr val="0000FF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5"/>
              </a:rPr>
              <a:t>https://youtu.be/4rkXR3kzLbw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de Kruis Workshop Stress &amp; Healthy Habits – English (NL) </a:t>
            </a:r>
            <a:r>
              <a:rPr lang="en-US" sz="1800" u="sng" dirty="0">
                <a:solidFill>
                  <a:srgbClr val="0000FF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6"/>
              </a:rPr>
              <a:t>https://youtu.be/dl_p6PAOA2o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de Kruis Workshop Stress &amp; Healthy Habits – French (INT) </a:t>
            </a:r>
            <a:r>
              <a:rPr lang="en-US" sz="1800" dirty="0"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800" u="sng" dirty="0">
                <a:solidFill>
                  <a:srgbClr val="0000FF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7"/>
              </a:rPr>
              <a:t>https://youtu.be/PcjDyPxyyvo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de Kruis Workshop Stress &amp; Healthy Habits – French (NL) </a:t>
            </a:r>
            <a:r>
              <a:rPr lang="en-US" sz="1800" u="sng" dirty="0">
                <a:solidFill>
                  <a:srgbClr val="0000FF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8"/>
              </a:rPr>
              <a:t>https://youtu.be/CAzap6hGdUo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de Kruis Workshop Stress &amp; Healthy Habits – Dutch (NL) </a:t>
            </a:r>
            <a:r>
              <a:rPr lang="en-US" sz="1800" u="sng" dirty="0">
                <a:solidFill>
                  <a:srgbClr val="0000FF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9"/>
              </a:rPr>
              <a:t>https://youtu.be/bLA1uWixSRw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de Kruis Workshop Stress &amp; Healthy Habits – Portuguese (INT) </a:t>
            </a:r>
            <a:r>
              <a:rPr lang="en-US" sz="1800" u="sng" dirty="0">
                <a:solidFill>
                  <a:srgbClr val="0000FF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10"/>
              </a:rPr>
              <a:t>https://youtu.be/0gbgswNVc9Q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de Kruis Workshop Stress &amp; Healthy Habits – Portuguese (NL) </a:t>
            </a:r>
            <a:r>
              <a:rPr lang="en-US" sz="1800" u="sng" dirty="0">
                <a:solidFill>
                  <a:srgbClr val="0000FF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11"/>
              </a:rPr>
              <a:t>https://youtu.be/jKH_k8cBenk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de Kruis Workshop Stress &amp; Healthy Habits – Spanish (INT) </a:t>
            </a:r>
            <a:r>
              <a:rPr lang="en-US" sz="1800" u="sng" dirty="0">
                <a:solidFill>
                  <a:srgbClr val="0000FF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12"/>
              </a:rPr>
              <a:t>https://youtu.be/RvMkzfQnyZU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de Kruis Workshop Stress &amp; Healthy Habits – Spanish (NL) </a:t>
            </a:r>
            <a:r>
              <a:rPr lang="en-US" sz="1800" u="sng" dirty="0">
                <a:solidFill>
                  <a:srgbClr val="0000FF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13"/>
              </a:rPr>
              <a:t>https://youtu.be/5vuFBRJIMZE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de Kruis Workshop Stress &amp; Healthy Habits – Tigrinya (INT) </a:t>
            </a:r>
            <a:r>
              <a:rPr lang="en-US" sz="1800" u="sng" dirty="0">
                <a:solidFill>
                  <a:srgbClr val="0000FF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14"/>
              </a:rPr>
              <a:t>https://youtu.be/7W-ojGl0BSM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de Kruis Workshop Stress &amp; Healthy Habits – Tigrinya (NL) </a:t>
            </a:r>
            <a:r>
              <a:rPr lang="en-US" sz="1800" u="sng" dirty="0">
                <a:solidFill>
                  <a:srgbClr val="0000FF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15"/>
              </a:rPr>
              <a:t>https://youtu.be/WDA-2qO5mxI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de Kruis Workshop Stress &amp; Healthy Habits – Dari (NL) </a:t>
            </a:r>
            <a:r>
              <a:rPr lang="en-US" sz="1800" u="sng" dirty="0">
                <a:solidFill>
                  <a:srgbClr val="0000FF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16"/>
              </a:rPr>
              <a:t>https://youtu.be/Wnf_fhAhaPE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ode Kruis Workshop Stress &amp; Healthy Habits – </a:t>
            </a:r>
            <a:r>
              <a:rPr lang="en-US" sz="1800" dirty="0" err="1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kraian</a:t>
            </a:r>
            <a:r>
              <a:rPr lang="en-US" sz="18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INT) </a:t>
            </a:r>
            <a:r>
              <a:rPr lang="en-US" sz="1800" u="sng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17"/>
              </a:rPr>
              <a:t>https://youtu.be/Zt_HfeYT4GM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639D4-3A97-42A4-AE54-3ADCAC11AA91}" type="slidenum">
              <a:rPr lang="nl-NL" smtClean="0"/>
              <a:pPr/>
              <a:t>2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754785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r>
              <a:rPr lang="en-US" dirty="0" err="1">
                <a:hlinkClick r:id="rId3"/>
              </a:rPr>
              <a:t>Vind</a:t>
            </a:r>
            <a:r>
              <a:rPr lang="en-US" dirty="0">
                <a:hlinkClick r:id="rId3"/>
              </a:rPr>
              <a:t> je eigen superpower! - Rode Kruis Nederland</a:t>
            </a:r>
            <a:endParaRPr lang="en-US" dirty="0"/>
          </a:p>
          <a:p>
            <a:pPr>
              <a:buNone/>
            </a:pPr>
            <a:endParaRPr lang="en-US" dirty="0"/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l-N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l-N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kip de coronadip, 30 december 2021:</a:t>
            </a:r>
          </a:p>
          <a:p>
            <a:pPr marL="342900" lvl="0" indent="-342900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nl-N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ftrap van #skipdecoronadip marathon editie;  video kunnen jullie vinden middels deze link: </a:t>
            </a:r>
            <a:r>
              <a:rPr lang="nl-NL" sz="1800" dirty="0">
                <a:solidFill>
                  <a:srgbClr val="000000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ttps: //</a:t>
            </a:r>
            <a:r>
              <a:rPr lang="nl-NL" sz="1800" u="sng" dirty="0">
                <a:solidFill>
                  <a:srgbClr val="0000FF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4"/>
              </a:rPr>
              <a:t>youtu.be/9L1Zd3Kb4SA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nl-N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en link naar toelichting campagne bij ad live nieuws updates: </a:t>
            </a:r>
            <a:r>
              <a:rPr lang="nl-NL" sz="1800" u="sng" dirty="0">
                <a:solidFill>
                  <a:srgbClr val="0000FF"/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5"/>
              </a:rPr>
              <a:t>https://lnkd.in/dU3vJNn8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639D4-3A97-42A4-AE54-3ADCAC11AA91}" type="slidenum">
              <a:rPr lang="nl-NL" smtClean="0"/>
              <a:pPr/>
              <a:t>3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857542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nl-NL">
              <a:cs typeface="Calibri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639D4-3A97-42A4-AE54-3ADCAC11AA91}" type="slidenum">
              <a:rPr lang="nl-NL" smtClean="0"/>
              <a:pPr/>
              <a:t>3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0635036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639D4-3A97-42A4-AE54-3ADCAC11AA91}" type="slidenum">
              <a:rPr lang="nl-NL" smtClean="0"/>
              <a:pPr/>
              <a:t>3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446684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639D4-3A97-42A4-AE54-3ADCAC11AA91}" type="slidenum">
              <a:rPr lang="nl-NL" smtClean="0"/>
              <a:pPr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8572424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639D4-3A97-42A4-AE54-3ADCAC11AA91}" type="slidenum">
              <a:rPr lang="nl-NL" smtClean="0"/>
              <a:pPr/>
              <a:t>3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828548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639D4-3A97-42A4-AE54-3ADCAC11AA91}" type="slidenum">
              <a:rPr lang="nl-NL" smtClean="0"/>
              <a:pPr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547240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7655" indent="-287655">
              <a:buNone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639D4-3A97-42A4-AE54-3ADCAC11AA91}" type="slidenum">
              <a:rPr lang="nl-NL" smtClean="0"/>
              <a:pPr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450958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sz="2400" dirty="0">
                <a:solidFill>
                  <a:schemeClr val="bg1"/>
                </a:solidFill>
              </a:rPr>
              <a:t>To </a:t>
            </a:r>
            <a:r>
              <a:rPr lang="nl-NL" sz="2400" dirty="0" err="1">
                <a:solidFill>
                  <a:schemeClr val="bg1"/>
                </a:solidFill>
              </a:rPr>
              <a:t>decide</a:t>
            </a:r>
            <a:r>
              <a:rPr lang="nl-NL" sz="2400" dirty="0">
                <a:solidFill>
                  <a:schemeClr val="bg1"/>
                </a:solidFill>
              </a:rPr>
              <a:t> to </a:t>
            </a:r>
            <a:r>
              <a:rPr lang="nl-NL" sz="2400" dirty="0" err="1">
                <a:solidFill>
                  <a:schemeClr val="bg1"/>
                </a:solidFill>
              </a:rPr>
              <a:t>whom</a:t>
            </a:r>
            <a:r>
              <a:rPr lang="nl-NL" sz="2400" dirty="0">
                <a:solidFill>
                  <a:schemeClr val="bg1"/>
                </a:solidFill>
              </a:rPr>
              <a:t> to </a:t>
            </a:r>
            <a:r>
              <a:rPr lang="nl-NL" sz="2400" dirty="0" err="1">
                <a:solidFill>
                  <a:schemeClr val="bg1"/>
                </a:solidFill>
              </a:rPr>
              <a:t>provide</a:t>
            </a:r>
            <a:r>
              <a:rPr lang="nl-NL" sz="2400" dirty="0">
                <a:solidFill>
                  <a:schemeClr val="bg1"/>
                </a:solidFill>
              </a:rPr>
              <a:t> PSS </a:t>
            </a:r>
            <a:r>
              <a:rPr lang="nl-NL" sz="2400" dirty="0" err="1">
                <a:solidFill>
                  <a:schemeClr val="bg1"/>
                </a:solidFill>
              </a:rPr>
              <a:t>for</a:t>
            </a:r>
            <a:r>
              <a:rPr lang="nl-NL" sz="2400" dirty="0">
                <a:solidFill>
                  <a:schemeClr val="bg1"/>
                </a:solidFill>
              </a:rPr>
              <a:t>, we </a:t>
            </a:r>
            <a:r>
              <a:rPr lang="nl-NL" dirty="0" err="1">
                <a:solidFill>
                  <a:schemeClr val="bg1"/>
                </a:solidFill>
              </a:rPr>
              <a:t>developed</a:t>
            </a:r>
            <a:r>
              <a:rPr lang="nl-NL" dirty="0">
                <a:solidFill>
                  <a:schemeClr val="bg1"/>
                </a:solidFill>
              </a:rPr>
              <a:t> the </a:t>
            </a:r>
            <a:r>
              <a:rPr lang="nl-NL" u="sng" dirty="0">
                <a:solidFill>
                  <a:schemeClr val="bg1"/>
                </a:solidFill>
              </a:rPr>
              <a:t>NLRC Minimum Standard </a:t>
            </a:r>
            <a:r>
              <a:rPr lang="nl-NL" u="sng" dirty="0" err="1">
                <a:solidFill>
                  <a:schemeClr val="bg1"/>
                </a:solidFill>
              </a:rPr>
              <a:t>for</a:t>
            </a:r>
            <a:r>
              <a:rPr lang="nl-NL" u="sng" dirty="0">
                <a:solidFill>
                  <a:schemeClr val="bg1"/>
                </a:solidFill>
              </a:rPr>
              <a:t> PSS</a:t>
            </a:r>
            <a:r>
              <a:rPr lang="nl-NL" dirty="0">
                <a:solidFill>
                  <a:schemeClr val="bg1"/>
                </a:solidFill>
              </a:rPr>
              <a:t>, </a:t>
            </a:r>
            <a:r>
              <a:rPr lang="nl-NL" dirty="0" err="1">
                <a:solidFill>
                  <a:schemeClr val="bg1"/>
                </a:solidFill>
              </a:rPr>
              <a:t>and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defined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that</a:t>
            </a:r>
            <a:r>
              <a:rPr lang="nl-NL" dirty="0">
                <a:solidFill>
                  <a:schemeClr val="bg1"/>
                </a:solidFill>
              </a:rPr>
              <a:t>….:</a:t>
            </a:r>
          </a:p>
          <a:p>
            <a:pPr marL="0" indent="0">
              <a:buNone/>
            </a:pPr>
            <a:endParaRPr lang="nl-NL" b="0" i="0" dirty="0">
              <a:solidFill>
                <a:schemeClr val="bg1"/>
              </a:solidFill>
              <a:effectLst/>
              <a:latin typeface="Roboto" panose="02000000000000000000" pitchFamily="2" charset="0"/>
            </a:endParaRPr>
          </a:p>
          <a:p>
            <a:pPr marL="0" indent="0">
              <a:buNone/>
            </a:pPr>
            <a:r>
              <a:rPr lang="en-US" sz="1600" b="0" i="0" dirty="0">
                <a:solidFill>
                  <a:schemeClr val="tx1"/>
                </a:solidFill>
                <a:latin typeface="Roboto" panose="02000000000000000000" pitchFamily="2" charset="0"/>
              </a:rPr>
              <a:t>Someone is in psychosocial need when they have psychological problems:</a:t>
            </a:r>
            <a:br>
              <a:rPr lang="en-US" sz="1600" b="0" i="0" dirty="0">
                <a:solidFill>
                  <a:schemeClr val="tx1"/>
                </a:solidFill>
                <a:latin typeface="Roboto" panose="02000000000000000000" pitchFamily="2" charset="0"/>
              </a:rPr>
            </a:br>
            <a:br>
              <a:rPr lang="en-US" sz="1600" b="0" i="0" dirty="0">
                <a:solidFill>
                  <a:schemeClr val="tx1"/>
                </a:solidFill>
                <a:latin typeface="Roboto" panose="02000000000000000000" pitchFamily="2" charset="0"/>
              </a:rPr>
            </a:br>
            <a:r>
              <a:rPr lang="en-US" sz="1600" b="0" i="0" dirty="0">
                <a:solidFill>
                  <a:schemeClr val="tx1"/>
                </a:solidFill>
                <a:latin typeface="Roboto" panose="02000000000000000000" pitchFamily="2" charset="0"/>
              </a:rPr>
              <a:t>1. that disrupt general daily functioning (work, living, social relationships); </a:t>
            </a:r>
            <a:br>
              <a:rPr lang="en-US" sz="1600" b="0" i="0" dirty="0">
                <a:solidFill>
                  <a:schemeClr val="tx1"/>
                </a:solidFill>
                <a:latin typeface="Roboto" panose="02000000000000000000" pitchFamily="2" charset="0"/>
              </a:rPr>
            </a:br>
            <a:r>
              <a:rPr lang="en-US" sz="1600" b="0" i="0" dirty="0">
                <a:solidFill>
                  <a:schemeClr val="tx1"/>
                </a:solidFill>
                <a:latin typeface="Roboto" panose="02000000000000000000" pitchFamily="2" charset="0"/>
              </a:rPr>
              <a:t>2. that cannot be solved by the person himself or with help from the environment (family, friends, neighbors, volunteers, acquaintances); </a:t>
            </a:r>
            <a:br>
              <a:rPr lang="en-US" sz="1600" b="0" i="0" dirty="0">
                <a:solidFill>
                  <a:schemeClr val="tx1"/>
                </a:solidFill>
                <a:latin typeface="Roboto" panose="02000000000000000000" pitchFamily="2" charset="0"/>
              </a:rPr>
            </a:br>
            <a:r>
              <a:rPr lang="en-US" sz="1600" b="0" i="0" dirty="0">
                <a:solidFill>
                  <a:schemeClr val="tx1"/>
                </a:solidFill>
                <a:latin typeface="Roboto" panose="02000000000000000000" pitchFamily="2" charset="0"/>
              </a:rPr>
              <a:t>3. and for which the necessary professional care and support is lacking, as described</a:t>
            </a:r>
            <a:endParaRPr lang="nl-NL" sz="1600" b="0" i="0" dirty="0">
              <a:solidFill>
                <a:schemeClr val="bg1"/>
              </a:solidFill>
              <a:effectLst/>
              <a:latin typeface="Roboto" panose="02000000000000000000" pitchFamily="2" charset="0"/>
            </a:endParaRPr>
          </a:p>
          <a:p>
            <a:pPr marL="0" indent="0">
              <a:buNone/>
            </a:pPr>
            <a:endParaRPr lang="nl-NL" sz="1600" b="0" i="0" dirty="0">
              <a:solidFill>
                <a:schemeClr val="bg1"/>
              </a:solidFill>
              <a:effectLst/>
              <a:latin typeface="Roboto" panose="02000000000000000000" pitchFamily="2" charset="0"/>
            </a:endParaRPr>
          </a:p>
          <a:p>
            <a:pPr marL="0" indent="0">
              <a:buNone/>
            </a:pPr>
            <a:r>
              <a:rPr lang="en-US" b="0" i="0" dirty="0">
                <a:solidFill>
                  <a:srgbClr val="3C4043"/>
                </a:solidFill>
                <a:effectLst/>
                <a:latin typeface="Roboto" panose="02000000000000000000" pitchFamily="2" charset="0"/>
              </a:rPr>
              <a:t>Described: </a:t>
            </a:r>
          </a:p>
          <a:p>
            <a:pPr marL="0" indent="0">
              <a:buNone/>
            </a:pPr>
            <a:r>
              <a:rPr lang="en-US" b="0" i="0" dirty="0">
                <a:solidFill>
                  <a:srgbClr val="3C4043"/>
                </a:solidFill>
                <a:effectLst/>
                <a:latin typeface="Roboto" panose="02000000000000000000" pitchFamily="2" charset="0"/>
              </a:rPr>
              <a:t>Acute care Acute care chain (ambulance care, pharmaceutical care, general practitioner care, specialist medical care, mental health care) is available 24 hours a day, 7 days a week for anyone who needs it with acute, life-threatening psychological problems. Psychosocial support Anyone for whom this is necessary can use this support during or after a disaster or (personal) major event, aimed at strengthening people's mental resilience. General practitioner care Anyone for whom this is necessary can have face-to-face contact with a general practitioner for consultation, treatment and/or referral. Anyone for whom this is necessary can, after referral, contact a mental health practice assistant (POH-GGZ). Social support Anyone for whom this is necessary can make use of this support, aimed at the self-reliance and participation of people with disabilities, chronic psychological or psychosocial problems.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639D4-3A97-42A4-AE54-3ADCAC11AA91}" type="slidenum">
              <a:rPr lang="nl-NL" smtClean="0"/>
              <a:pPr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71923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Source: </a:t>
            </a:r>
            <a:r>
              <a:rPr lang="nl-NL" dirty="0">
                <a:hlinkClick r:id="rId3"/>
              </a:rPr>
              <a:t>ABS-PMER - Indicator handboek.pdf (sharepoint.com)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639D4-3A97-42A4-AE54-3ADCAC11AA91}" type="slidenum">
              <a:rPr lang="nl-NL" smtClean="0"/>
              <a:pPr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605884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639D4-3A97-42A4-AE54-3ADCAC11AA91}" type="slidenum">
              <a:rPr lang="nl-NL" smtClean="0"/>
              <a:pPr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496404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639D4-3A97-42A4-AE54-3ADCAC11AA91}" type="slidenum">
              <a:rPr lang="nl-NL" smtClean="0"/>
              <a:pPr/>
              <a:t>1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166208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dirty="0">
                <a:cs typeface="Calibri" panose="020F0502020204030204"/>
              </a:rPr>
              <a:t>Kwetsbare groepen: ongedocumenteerden, EU arbeidsmigranten, </a:t>
            </a:r>
            <a:r>
              <a:rPr lang="nl-NL" dirty="0" err="1">
                <a:cs typeface="Calibri" panose="020F0502020204030204"/>
              </a:rPr>
              <a:t>slachtoffersmensenhandel</a:t>
            </a:r>
            <a:r>
              <a:rPr lang="nl-NL" dirty="0">
                <a:cs typeface="Calibri" panose="020F0502020204030204"/>
              </a:rPr>
              <a:t> , mensen </a:t>
            </a:r>
            <a:r>
              <a:rPr lang="nl-NL" dirty="0" err="1">
                <a:cs typeface="Calibri" panose="020F0502020204030204"/>
              </a:rPr>
              <a:t>multiproblematiek</a:t>
            </a:r>
            <a:endParaRPr lang="nl-NL" dirty="0">
              <a:cs typeface="Calibri" panose="020F0502020204030204"/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4639D4-3A97-42A4-AE54-3ADCAC11AA91}" type="slidenum">
              <a:rPr lang="nl-NL" smtClean="0"/>
              <a:pPr/>
              <a:t>1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28370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0.emf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800000" y="1368000"/>
            <a:ext cx="5920642" cy="1008000"/>
          </a:xfrm>
        </p:spPr>
        <p:txBody>
          <a:bodyPr lIns="36000" tIns="36000" rIns="36000" bIns="36000" anchor="b">
            <a:noAutofit/>
          </a:bodyPr>
          <a:lstStyle>
            <a:lvl1pPr algn="l">
              <a:lnSpc>
                <a:spcPct val="90000"/>
              </a:lnSpc>
              <a:defRPr sz="3200" b="1" spc="60" baseline="0">
                <a:solidFill>
                  <a:schemeClr val="tx2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 hasCustomPrompt="1"/>
          </p:nvPr>
        </p:nvSpPr>
        <p:spPr>
          <a:xfrm>
            <a:off x="1800000" y="2556000"/>
            <a:ext cx="5920642" cy="648000"/>
          </a:xfrm>
        </p:spPr>
        <p:txBody>
          <a:bodyPr lIns="36000" tIns="36000" rIns="36000" bIns="3600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spc="6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73E3615C-F55C-43AB-A8DE-547F77398A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12000" y="7020000"/>
            <a:ext cx="1680000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8184954-07DC-47D7-B8AC-1BD04C8AEA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7020000"/>
            <a:ext cx="8388062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A9505A9-BA30-4552-9F9D-043FB8B8A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242837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aste afbeelding met tite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1"/>
            <a:ext cx="12192001" cy="6858000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3F6C6EB1-ECBB-4F97-8C73-A95D992719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F2D396E4-D6E1-4CEF-BFC7-45CB774ABDD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12000" y="7020000"/>
            <a:ext cx="1680000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AD0B9F02-B935-449A-8A7E-C60777FF1A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7020000"/>
            <a:ext cx="8388062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152C44F6-EA3B-4C68-AB06-1C1AA0737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5A05ACED-ECB6-42AD-8566-92D3D1231A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5580000"/>
            <a:ext cx="1371600" cy="686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3838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aste afbeelding met titel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DA425C76-0535-462A-AD71-CE37CD7275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FE5DCC11-9ABD-4ED2-8B25-3F82BCA9870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12000" y="7020000"/>
            <a:ext cx="1680000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C4BEF50A-C4D4-4138-946B-7515E706A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7020000"/>
            <a:ext cx="8388062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ACD3FA6F-D38C-4837-A328-53C7FDFE2C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1258A44F-FEE2-4BF9-BE27-CF9A065074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5580000"/>
            <a:ext cx="1371600" cy="686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2012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aste afbeelding met titel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fbeelding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" y="-1"/>
            <a:ext cx="12312386" cy="6926901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D0135365-C710-4D14-BF10-F3599C8193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CE887036-871A-4360-A5CD-E62AA965C5F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12000" y="7020000"/>
            <a:ext cx="1680000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9EBAB867-BAE0-47A0-99E3-6D607E2DAB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7020000"/>
            <a:ext cx="8388062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A9C2B297-B809-42F9-96CB-78247014F8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FC4D4976-6D41-4DE0-83F4-3E1E430006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5580000"/>
            <a:ext cx="1371600" cy="686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41044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aste afbeelding met titel 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"/>
            <a:ext cx="12192000" cy="686271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C639ED0F-7F01-473C-BBAD-C030895A88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12000" y="7020000"/>
            <a:ext cx="1680000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02F89BA-68EA-4B71-BD92-93D360B666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7020000"/>
            <a:ext cx="8388062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833F561D-EFF6-40D9-8428-7222FA339E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22AB242D-C8D8-4081-AAF2-2383C5BD5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5580000"/>
            <a:ext cx="1371600" cy="686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24250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met 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515938" y="1177200"/>
            <a:ext cx="5580062" cy="648000"/>
          </a:xfrm>
        </p:spPr>
        <p:txBody>
          <a:bodyPr lIns="36000" tIns="36000" rIns="36000" bIns="3600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spc="6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5" name="Tijdelijke aanduiding voor inhoud 4"/>
          <p:cNvSpPr>
            <a:spLocks noGrp="1"/>
          </p:cNvSpPr>
          <p:nvPr>
            <p:ph sz="quarter" idx="10"/>
          </p:nvPr>
        </p:nvSpPr>
        <p:spPr>
          <a:xfrm>
            <a:off x="515938" y="2051999"/>
            <a:ext cx="5580062" cy="3464564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afbeelding 8"/>
          <p:cNvSpPr>
            <a:spLocks noGrp="1"/>
          </p:cNvSpPr>
          <p:nvPr>
            <p:ph type="pic" sz="quarter" idx="11" hasCustomPrompt="1"/>
          </p:nvPr>
        </p:nvSpPr>
        <p:spPr>
          <a:xfrm>
            <a:off x="6564312" y="0"/>
            <a:ext cx="5627131" cy="6858000"/>
          </a:xfrm>
        </p:spPr>
        <p:txBody>
          <a:bodyPr anchor="b">
            <a:normAutofit/>
          </a:bodyPr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nl-NL"/>
              <a:t>Afbeelding selecteren</a:t>
            </a:r>
          </a:p>
          <a:p>
            <a:endParaRPr lang="nl-NL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617C4F60-DAF2-4090-BF38-724FFCC267D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312000" y="7020000"/>
            <a:ext cx="1680000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56175E8A-2273-4758-8DC6-9A8F4B7673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15938" y="7020000"/>
            <a:ext cx="8388062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B7967709-3E4F-42A9-B645-C364E0BF993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EFA97128-2615-4FF3-8E9E-3CD9E1081F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33375"/>
            <a:ext cx="5580062" cy="830444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30517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 met inhoud (hoo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inhoud 4"/>
          <p:cNvSpPr>
            <a:spLocks noGrp="1"/>
          </p:cNvSpPr>
          <p:nvPr>
            <p:ph sz="quarter" idx="10"/>
          </p:nvPr>
        </p:nvSpPr>
        <p:spPr>
          <a:xfrm>
            <a:off x="515938" y="1177200"/>
            <a:ext cx="5580062" cy="4383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afbeelding 8"/>
          <p:cNvSpPr>
            <a:spLocks noGrp="1"/>
          </p:cNvSpPr>
          <p:nvPr>
            <p:ph type="pic" sz="quarter" idx="11" hasCustomPrompt="1"/>
          </p:nvPr>
        </p:nvSpPr>
        <p:spPr>
          <a:xfrm>
            <a:off x="6564312" y="0"/>
            <a:ext cx="5627131" cy="6858000"/>
          </a:xfrm>
        </p:spPr>
        <p:txBody>
          <a:bodyPr anchor="b">
            <a:normAutofit/>
          </a:bodyPr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nl-NL"/>
              <a:t>Afbeelding selecteren</a:t>
            </a:r>
          </a:p>
          <a:p>
            <a:endParaRPr lang="nl-NL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617C4F60-DAF2-4090-BF38-724FFCC267D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312000" y="7020000"/>
            <a:ext cx="1680000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56175E8A-2273-4758-8DC6-9A8F4B7673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515938" y="7020000"/>
            <a:ext cx="8388062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8" name="Tijdelijke aanduiding voor dianummer 7">
            <a:extLst>
              <a:ext uri="{FF2B5EF4-FFF2-40B4-BE49-F238E27FC236}">
                <a16:creationId xmlns:a16="http://schemas.microsoft.com/office/drawing/2014/main" id="{B7967709-3E4F-42A9-B645-C364E0BF993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44FBFB4-D0B1-4179-9AF2-46E37E17D1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33375"/>
            <a:ext cx="5580062" cy="830444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41788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met inhoud licht blau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/>
          <p:cNvSpPr/>
          <p:nvPr/>
        </p:nvSpPr>
        <p:spPr>
          <a:xfrm>
            <a:off x="-2" y="0"/>
            <a:ext cx="6096001" cy="29606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2"/>
              </a:solidFill>
            </a:endParaRP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515937" y="1177200"/>
            <a:ext cx="5075237" cy="648000"/>
          </a:xfrm>
        </p:spPr>
        <p:txBody>
          <a:bodyPr lIns="36000" tIns="36000" rIns="36000" bIns="3600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spc="6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5" name="Tijdelijke aanduiding voor inhoud 4"/>
          <p:cNvSpPr>
            <a:spLocks noGrp="1"/>
          </p:cNvSpPr>
          <p:nvPr>
            <p:ph sz="quarter" idx="10"/>
          </p:nvPr>
        </p:nvSpPr>
        <p:spPr>
          <a:xfrm>
            <a:off x="6576000" y="2960688"/>
            <a:ext cx="5173088" cy="389731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 marL="1437750" indent="-285750"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40" y="2960688"/>
            <a:ext cx="6093518" cy="3897313"/>
          </a:xfrm>
          <a:prstGeom prst="rect">
            <a:avLst/>
          </a:prstGeom>
        </p:spPr>
      </p:pic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6AC3FC38-39DA-4179-BD02-F330CD67DB3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9312000" y="7020000"/>
            <a:ext cx="1680000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23E9D098-6CF5-4DA5-A707-ED3F2904A24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515938" y="7020000"/>
            <a:ext cx="8388062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11" name="Tijdelijke aanduiding voor dianummer 10">
            <a:extLst>
              <a:ext uri="{FF2B5EF4-FFF2-40B4-BE49-F238E27FC236}">
                <a16:creationId xmlns:a16="http://schemas.microsoft.com/office/drawing/2014/main" id="{E94ED546-F74D-422E-8CD1-265791F0D36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53FCD62A-841B-4EBC-810F-CD29FB6569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79996"/>
            <a:ext cx="1371600" cy="686154"/>
          </a:xfrm>
          <a:prstGeom prst="rect">
            <a:avLst/>
          </a:prstGeom>
        </p:spPr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5D97BFF4-74D5-439B-BD4C-1D9508644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33375"/>
            <a:ext cx="5111750" cy="83044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23537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met inhoud ora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/>
          <p:cNvSpPr/>
          <p:nvPr/>
        </p:nvSpPr>
        <p:spPr>
          <a:xfrm>
            <a:off x="-1" y="0"/>
            <a:ext cx="6084000" cy="296068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2"/>
              </a:solidFill>
            </a:endParaRP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515938" y="1177200"/>
            <a:ext cx="5075236" cy="648000"/>
          </a:xfrm>
        </p:spPr>
        <p:txBody>
          <a:bodyPr lIns="36000" tIns="36000" rIns="36000" bIns="3600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spc="6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5" name="Tijdelijke aanduiding voor inhoud 4"/>
          <p:cNvSpPr>
            <a:spLocks noGrp="1"/>
          </p:cNvSpPr>
          <p:nvPr>
            <p:ph sz="quarter" idx="10"/>
          </p:nvPr>
        </p:nvSpPr>
        <p:spPr>
          <a:xfrm>
            <a:off x="6576000" y="2960688"/>
            <a:ext cx="5173088" cy="389731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 marL="1437750" indent="-285750"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956113"/>
            <a:ext cx="6083999" cy="3899347"/>
          </a:xfrm>
          <a:prstGeom prst="rect">
            <a:avLst/>
          </a:prstGeom>
        </p:spPr>
      </p:pic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75DBB207-ED0B-474F-82A1-E234363F5213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9312000" y="7020000"/>
            <a:ext cx="1680000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7" name="Tijdelijke aanduiding voor voettekst 6">
            <a:extLst>
              <a:ext uri="{FF2B5EF4-FFF2-40B4-BE49-F238E27FC236}">
                <a16:creationId xmlns:a16="http://schemas.microsoft.com/office/drawing/2014/main" id="{7ADB4FA2-5053-49F0-8EF0-B0656035273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515938" y="7020000"/>
            <a:ext cx="8388062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207DA72C-94BD-42FF-BFFD-7EEA2066E32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CBB235DF-A6B5-4B52-B8C2-6E98AFAB5E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5580000"/>
            <a:ext cx="1371600" cy="686157"/>
          </a:xfrm>
          <a:prstGeom prst="rect">
            <a:avLst/>
          </a:prstGeo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9BCA5185-4927-4D5B-BF4C-047C08604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33375"/>
            <a:ext cx="5111750" cy="83044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95515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met inhoud en accentvlak goudgro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/>
          <p:cNvSpPr/>
          <p:nvPr/>
        </p:nvSpPr>
        <p:spPr>
          <a:xfrm>
            <a:off x="1" y="3897312"/>
            <a:ext cx="6095999" cy="29606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2"/>
              </a:solidFill>
            </a:endParaRP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515938" y="1177200"/>
            <a:ext cx="5580062" cy="648000"/>
          </a:xfrm>
        </p:spPr>
        <p:txBody>
          <a:bodyPr lIns="36000" tIns="36000" rIns="36000" bIns="3600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spc="6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5" name="Tijdelijke aanduiding voor inhoud 4"/>
          <p:cNvSpPr>
            <a:spLocks noGrp="1"/>
          </p:cNvSpPr>
          <p:nvPr>
            <p:ph sz="quarter" idx="10"/>
          </p:nvPr>
        </p:nvSpPr>
        <p:spPr>
          <a:xfrm>
            <a:off x="6576000" y="333375"/>
            <a:ext cx="5184000" cy="309562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 marL="1437750" indent="-285750"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afbeelding 8"/>
          <p:cNvSpPr>
            <a:spLocks noGrp="1"/>
          </p:cNvSpPr>
          <p:nvPr>
            <p:ph type="pic" sz="quarter" idx="11" hasCustomPrompt="1"/>
          </p:nvPr>
        </p:nvSpPr>
        <p:spPr>
          <a:xfrm>
            <a:off x="6083999" y="3897312"/>
            <a:ext cx="6108001" cy="2960687"/>
          </a:xfrm>
        </p:spPr>
        <p:txBody>
          <a:bodyPr anchor="b">
            <a:normAutofit/>
          </a:bodyPr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nl-NL"/>
              <a:t>Afbeelding selecteren</a:t>
            </a:r>
          </a:p>
          <a:p>
            <a:endParaRPr lang="nl-NL"/>
          </a:p>
        </p:txBody>
      </p:sp>
      <p:sp>
        <p:nvSpPr>
          <p:cNvPr id="11" name="Tijdelijke aanduiding voor tekst 10"/>
          <p:cNvSpPr>
            <a:spLocks noGrp="1"/>
          </p:cNvSpPr>
          <p:nvPr>
            <p:ph type="body" sz="quarter" idx="12"/>
          </p:nvPr>
        </p:nvSpPr>
        <p:spPr>
          <a:xfrm>
            <a:off x="1672114" y="4176000"/>
            <a:ext cx="4411885" cy="2412000"/>
          </a:xfrm>
        </p:spPr>
        <p:txBody>
          <a:bodyPr lIns="360000" rIns="3600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541270C-533F-4968-9E0F-1552EB2B598D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9312000" y="7020000"/>
            <a:ext cx="1680000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B0E20E0D-A936-4AE7-9BF1-7422E936B72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5938" y="7020000"/>
            <a:ext cx="8388062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947AE55F-AE58-42A0-B212-60FA70EB63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E35AC7E9-445D-4EB4-B572-2A4D83C460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5580000"/>
            <a:ext cx="1371600" cy="686157"/>
          </a:xfrm>
          <a:prstGeom prst="rect">
            <a:avLst/>
          </a:prstGeo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57A43C91-ACD9-4765-AAE3-5146BDAB4A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33375"/>
            <a:ext cx="5580062" cy="830444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13066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dia met inhoud en accentvlak licht blau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/>
          <p:cNvSpPr/>
          <p:nvPr/>
        </p:nvSpPr>
        <p:spPr>
          <a:xfrm>
            <a:off x="0" y="3897312"/>
            <a:ext cx="6096000" cy="296068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2"/>
              </a:solidFill>
            </a:endParaRP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515938" y="1177200"/>
            <a:ext cx="5580062" cy="648000"/>
          </a:xfrm>
        </p:spPr>
        <p:txBody>
          <a:bodyPr lIns="36000" tIns="36000" rIns="36000" bIns="3600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spc="6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5" name="Tijdelijke aanduiding voor inhoud 4"/>
          <p:cNvSpPr>
            <a:spLocks noGrp="1"/>
          </p:cNvSpPr>
          <p:nvPr>
            <p:ph sz="quarter" idx="10"/>
          </p:nvPr>
        </p:nvSpPr>
        <p:spPr>
          <a:xfrm>
            <a:off x="6576000" y="333375"/>
            <a:ext cx="5173088" cy="309562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 marL="1437750" indent="-285750"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afbeelding 8"/>
          <p:cNvSpPr>
            <a:spLocks noGrp="1"/>
          </p:cNvSpPr>
          <p:nvPr>
            <p:ph type="pic" sz="quarter" idx="11" hasCustomPrompt="1"/>
          </p:nvPr>
        </p:nvSpPr>
        <p:spPr>
          <a:xfrm>
            <a:off x="6096000" y="3897312"/>
            <a:ext cx="6096000" cy="2960688"/>
          </a:xfrm>
        </p:spPr>
        <p:txBody>
          <a:bodyPr anchor="b">
            <a:normAutofit/>
          </a:bodyPr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nl-NL"/>
              <a:t>Afbeelding selecteren</a:t>
            </a:r>
          </a:p>
          <a:p>
            <a:endParaRPr lang="nl-NL"/>
          </a:p>
        </p:txBody>
      </p:sp>
      <p:sp>
        <p:nvSpPr>
          <p:cNvPr id="11" name="Tijdelijke aanduiding voor tekst 10"/>
          <p:cNvSpPr>
            <a:spLocks noGrp="1"/>
          </p:cNvSpPr>
          <p:nvPr>
            <p:ph type="body" sz="quarter" idx="12"/>
          </p:nvPr>
        </p:nvSpPr>
        <p:spPr>
          <a:xfrm>
            <a:off x="1672114" y="4176000"/>
            <a:ext cx="4423886" cy="2412000"/>
          </a:xfrm>
        </p:spPr>
        <p:txBody>
          <a:bodyPr lIns="360000" rIns="3600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8D2CC66E-46C7-43B5-AD9C-16A05B6E109D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9312000" y="7020000"/>
            <a:ext cx="1680000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837B9517-7BA3-43A6-A086-19B6F8A160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5938" y="7020000"/>
            <a:ext cx="8388062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DC9DD6B8-4C39-4BF4-A274-F2A1AFF2AF1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E2875B00-9E10-49A4-B541-96B4305D81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5580000"/>
            <a:ext cx="1371600" cy="686157"/>
          </a:xfrm>
          <a:prstGeom prst="rect">
            <a:avLst/>
          </a:prstGeo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228CBADF-DD29-465A-A8BF-58BBB24671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33375"/>
            <a:ext cx="5580062" cy="830444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82995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15938" y="1520825"/>
            <a:ext cx="11233150" cy="39957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5B2C125-DBE1-42AD-A56F-FA48B495F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AB737CEA-8486-4D34-ABC5-F0FE3A967F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5EE2DB4E-0006-49ED-9079-B6C03DC4C3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0" name="Tijdelijke aanduiding voor dianummer 9">
            <a:extLst>
              <a:ext uri="{FF2B5EF4-FFF2-40B4-BE49-F238E27FC236}">
                <a16:creationId xmlns:a16="http://schemas.microsoft.com/office/drawing/2014/main" id="{9B5776AC-D9F7-4A46-B58D-032C7E3CE9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220874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met inhoud en accentvlak auber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/>
          <p:cNvSpPr/>
          <p:nvPr/>
        </p:nvSpPr>
        <p:spPr>
          <a:xfrm>
            <a:off x="0" y="3897312"/>
            <a:ext cx="6096000" cy="296068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2"/>
              </a:solidFill>
            </a:endParaRP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515938" y="1177200"/>
            <a:ext cx="5568062" cy="648000"/>
          </a:xfrm>
        </p:spPr>
        <p:txBody>
          <a:bodyPr lIns="36000" tIns="36000" rIns="36000" bIns="3600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spc="6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5" name="Tijdelijke aanduiding voor inhoud 4"/>
          <p:cNvSpPr>
            <a:spLocks noGrp="1"/>
          </p:cNvSpPr>
          <p:nvPr>
            <p:ph sz="quarter" idx="10"/>
          </p:nvPr>
        </p:nvSpPr>
        <p:spPr>
          <a:xfrm>
            <a:off x="6576000" y="333375"/>
            <a:ext cx="5173088" cy="309562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 marL="1437750" indent="-285750"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afbeelding 8"/>
          <p:cNvSpPr>
            <a:spLocks noGrp="1"/>
          </p:cNvSpPr>
          <p:nvPr>
            <p:ph type="pic" sz="quarter" idx="11" hasCustomPrompt="1"/>
          </p:nvPr>
        </p:nvSpPr>
        <p:spPr>
          <a:xfrm>
            <a:off x="6096000" y="3897312"/>
            <a:ext cx="6096000" cy="2960687"/>
          </a:xfrm>
        </p:spPr>
        <p:txBody>
          <a:bodyPr anchor="b">
            <a:normAutofit/>
          </a:bodyPr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nl-NL"/>
              <a:t>Afbeelding selecteren</a:t>
            </a:r>
          </a:p>
          <a:p>
            <a:endParaRPr lang="nl-NL"/>
          </a:p>
        </p:txBody>
      </p:sp>
      <p:sp>
        <p:nvSpPr>
          <p:cNvPr id="11" name="Tijdelijke aanduiding voor tekst 10"/>
          <p:cNvSpPr>
            <a:spLocks noGrp="1"/>
          </p:cNvSpPr>
          <p:nvPr>
            <p:ph type="body" sz="quarter" idx="12"/>
          </p:nvPr>
        </p:nvSpPr>
        <p:spPr>
          <a:xfrm>
            <a:off x="1672114" y="4176000"/>
            <a:ext cx="4423885" cy="2412000"/>
          </a:xfrm>
        </p:spPr>
        <p:txBody>
          <a:bodyPr lIns="360000" rIns="3600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40D2054B-24E1-48D4-BF11-4069251D5240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9312000" y="7020000"/>
            <a:ext cx="1680000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7F0531A7-EEDA-4996-BB3E-32A21791497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5938" y="7020000"/>
            <a:ext cx="8388062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07016A96-B59C-4FB7-B9B4-EFA9225F6B4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05B00AAD-64D4-4926-BD27-3AB25FC39E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5580000"/>
            <a:ext cx="1371600" cy="686157"/>
          </a:xfrm>
          <a:prstGeom prst="rect">
            <a:avLst/>
          </a:prstGeom>
        </p:spPr>
      </p:pic>
      <p:sp>
        <p:nvSpPr>
          <p:cNvPr id="10" name="Titel 9">
            <a:extLst>
              <a:ext uri="{FF2B5EF4-FFF2-40B4-BE49-F238E27FC236}">
                <a16:creationId xmlns:a16="http://schemas.microsoft.com/office/drawing/2014/main" id="{D4CF6516-CA09-436A-A0C5-A2A8514638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33375"/>
            <a:ext cx="5568062" cy="830444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1082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 (zonder voetteks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F37218B2-28D2-46C6-802F-E802220643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12000" y="7020000"/>
            <a:ext cx="1680000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95ADB2C8-9B83-4DAE-867E-E4C2EFD91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7020000"/>
            <a:ext cx="8388062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F1594E54-8C03-4E5D-9DA6-783CB25647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9E5C891D-DB83-43DA-A74A-2DBB31D68B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10510035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beelding volledige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afbeelding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b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nl-NL"/>
              <a:t>Afbeelding selecter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8586452-D4F9-411E-94C6-2DF17FED24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080000"/>
            <a:ext cx="11233150" cy="830444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AFCF7243-A0DE-470B-B3B6-7BE970164BC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9312000" y="7020000"/>
            <a:ext cx="1680000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C59726F7-8E1A-4CD8-A77F-C0C80D82BCA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515938" y="7020000"/>
            <a:ext cx="8388062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EA071F1-392B-4EFF-B6EB-2A2A7353E21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817613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7EC48B-3F4B-424F-8B07-2B72486FDF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080000"/>
            <a:ext cx="11233150" cy="830444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7D19B76A-4F2B-455C-8423-59CAEFFED0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12000" y="7020000"/>
            <a:ext cx="1680000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8FCB1931-79E0-4279-8B68-49BD18917B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7020000"/>
            <a:ext cx="8388062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D5DDBDDD-FEFE-4815-960C-BCCA345F7E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857074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2BD71CA-03CA-47AE-8FF6-D7531E941D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8252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2BD71CA-03CA-47AE-8FF6-D7531E941D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11232"/>
            <a:ext cx="10772775" cy="1023616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5706" y="1466851"/>
            <a:ext cx="10753725" cy="4267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490A4D-1E93-4683-9115-3D0607304281}" type="datetimeFigureOut">
              <a:rPr lang="en-US" smtClean="0"/>
              <a:t>10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DB8C6-B22F-45FF-B9DD-34C0453CB5A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85632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eldia met inhoud en accentvlak licht blau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hoek 15">
            <a:extLst>
              <a:ext uri="{FF2B5EF4-FFF2-40B4-BE49-F238E27FC236}">
                <a16:creationId xmlns:a16="http://schemas.microsoft.com/office/drawing/2014/main" id="{08F3F8BD-B4E8-94A7-ABD1-9173CAAC126A}"/>
              </a:ext>
            </a:extLst>
          </p:cNvPr>
          <p:cNvSpPr/>
          <p:nvPr userDrawn="1"/>
        </p:nvSpPr>
        <p:spPr>
          <a:xfrm>
            <a:off x="0" y="4974969"/>
            <a:ext cx="12192000" cy="18830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2"/>
              </a:solidFill>
            </a:endParaRPr>
          </a:p>
        </p:txBody>
      </p:sp>
      <p:sp>
        <p:nvSpPr>
          <p:cNvPr id="11" name="Tijdelijke aanduiding voor tekst 10"/>
          <p:cNvSpPr>
            <a:spLocks noGrp="1"/>
          </p:cNvSpPr>
          <p:nvPr>
            <p:ph type="body" sz="quarter" idx="12"/>
          </p:nvPr>
        </p:nvSpPr>
        <p:spPr>
          <a:xfrm>
            <a:off x="2229485" y="5229515"/>
            <a:ext cx="9484147" cy="1387126"/>
          </a:xfrm>
        </p:spPr>
        <p:txBody>
          <a:bodyPr lIns="180000" tIns="36000" rIns="1080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datum 5">
            <a:extLst>
              <a:ext uri="{FF2B5EF4-FFF2-40B4-BE49-F238E27FC236}">
                <a16:creationId xmlns:a16="http://schemas.microsoft.com/office/drawing/2014/main" id="{4CA12275-0E2F-44BE-89AD-544C839C046F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9312000" y="7020000"/>
            <a:ext cx="1680000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10" name="Tijdelijke aanduiding voor voettekst 9">
            <a:extLst>
              <a:ext uri="{FF2B5EF4-FFF2-40B4-BE49-F238E27FC236}">
                <a16:creationId xmlns:a16="http://schemas.microsoft.com/office/drawing/2014/main" id="{8AB1D6E5-7A27-469C-A5E1-F9E7F7506D5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24418" y="7020000"/>
            <a:ext cx="8447583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12" name="Tijdelijke aanduiding voor dianummer 11">
            <a:extLst>
              <a:ext uri="{FF2B5EF4-FFF2-40B4-BE49-F238E27FC236}">
                <a16:creationId xmlns:a16="http://schemas.microsoft.com/office/drawing/2014/main" id="{C3E95282-B4CF-4AB6-A320-9E59EFB5B0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232000" y="7020000"/>
            <a:ext cx="481633" cy="216000"/>
          </a:xfrm>
        </p:spPr>
        <p:txBody>
          <a:bodyPr/>
          <a:lstStyle/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B6264982-2034-49DB-802E-1EB115BFF9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5580001"/>
            <a:ext cx="1828800" cy="686157"/>
          </a:xfrm>
          <a:prstGeom prst="rect">
            <a:avLst/>
          </a:prstGeom>
        </p:spPr>
      </p:pic>
      <p:sp>
        <p:nvSpPr>
          <p:cNvPr id="14" name="Tijdelijke aanduiding voor inhoud 2">
            <a:extLst>
              <a:ext uri="{FF2B5EF4-FFF2-40B4-BE49-F238E27FC236}">
                <a16:creationId xmlns:a16="http://schemas.microsoft.com/office/drawing/2014/main" id="{0BB74AF9-7F62-FFB3-7FD9-A3153B5285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4418" y="1484314"/>
            <a:ext cx="11089215" cy="3153359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15" name="Titel 3">
            <a:extLst>
              <a:ext uri="{FF2B5EF4-FFF2-40B4-BE49-F238E27FC236}">
                <a16:creationId xmlns:a16="http://schemas.microsoft.com/office/drawing/2014/main" id="{9209098F-0E9B-3D84-06C9-29C78730B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417" y="336965"/>
            <a:ext cx="11089216" cy="830444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5819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7439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>
          <a:xfrm>
            <a:off x="9312000" y="7020000"/>
            <a:ext cx="1680000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>
          <a:xfrm>
            <a:off x="515938" y="7020000"/>
            <a:ext cx="8388062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fld id="{4023FC5B-98A5-49E4-B59C-E073B8952154}" type="slidenum">
              <a:rPr lang="nl-NL" smtClean="0"/>
              <a:t>‹nr.›</a:t>
            </a:fld>
            <a:endParaRPr lang="nl-NL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33A3CA41-9EBC-4AE3-9B53-2856BF2CF1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3114879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dia met zij afbeeldi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800000" y="1368000"/>
            <a:ext cx="6480000" cy="1008000"/>
          </a:xfrm>
        </p:spPr>
        <p:txBody>
          <a:bodyPr lIns="36000" tIns="36000" rIns="36000" bIns="36000" anchor="b">
            <a:noAutofit/>
          </a:bodyPr>
          <a:lstStyle>
            <a:lvl1pPr algn="l">
              <a:lnSpc>
                <a:spcPct val="90000"/>
              </a:lnSpc>
              <a:defRPr sz="3200" b="1" spc="60" baseline="0">
                <a:solidFill>
                  <a:schemeClr val="tx2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800000" y="2556000"/>
            <a:ext cx="6480000" cy="648000"/>
          </a:xfrm>
        </p:spPr>
        <p:txBody>
          <a:bodyPr lIns="36000" tIns="36000" rIns="36000" bIns="3600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spc="6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9" name="Tijdelijke aanduiding voor afbeelding 8"/>
          <p:cNvSpPr>
            <a:spLocks noGrp="1"/>
          </p:cNvSpPr>
          <p:nvPr>
            <p:ph type="pic" sz="quarter" idx="10" hasCustomPrompt="1"/>
          </p:nvPr>
        </p:nvSpPr>
        <p:spPr>
          <a:xfrm>
            <a:off x="8608741" y="0"/>
            <a:ext cx="3583259" cy="2196000"/>
          </a:xfrm>
        </p:spPr>
        <p:txBody>
          <a:bodyPr anchor="b">
            <a:normAutofit/>
          </a:bodyPr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nl-NL"/>
              <a:t>Afbeelding selecteren</a:t>
            </a:r>
          </a:p>
        </p:txBody>
      </p:sp>
      <p:sp>
        <p:nvSpPr>
          <p:cNvPr id="11" name="Tijdelijke aanduiding voor afbeelding 8"/>
          <p:cNvSpPr>
            <a:spLocks noGrp="1"/>
          </p:cNvSpPr>
          <p:nvPr>
            <p:ph type="pic" sz="quarter" idx="11" hasCustomPrompt="1"/>
          </p:nvPr>
        </p:nvSpPr>
        <p:spPr>
          <a:xfrm>
            <a:off x="8608741" y="4662000"/>
            <a:ext cx="3583259" cy="2196000"/>
          </a:xfrm>
        </p:spPr>
        <p:txBody>
          <a:bodyPr anchor="b">
            <a:normAutofit/>
          </a:bodyPr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nl-NL"/>
              <a:t>Afbeelding selecteren</a:t>
            </a:r>
          </a:p>
        </p:txBody>
      </p:sp>
      <p:sp>
        <p:nvSpPr>
          <p:cNvPr id="12" name="Tijdelijke aanduiding voor afbeelding 8"/>
          <p:cNvSpPr>
            <a:spLocks noGrp="1"/>
          </p:cNvSpPr>
          <p:nvPr>
            <p:ph type="pic" sz="quarter" idx="12" hasCustomPrompt="1"/>
          </p:nvPr>
        </p:nvSpPr>
        <p:spPr>
          <a:xfrm>
            <a:off x="8608741" y="2331000"/>
            <a:ext cx="3583259" cy="2196000"/>
          </a:xfrm>
        </p:spPr>
        <p:txBody>
          <a:bodyPr anchor="b">
            <a:normAutofit/>
          </a:bodyPr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nl-NL"/>
              <a:t>Afbeelding selecter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42070C5-6796-4299-AB85-CC20570546D8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9312000" y="7020000"/>
            <a:ext cx="1680000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ABD32AD-09A4-4A89-BC57-F1E4EA596D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5938" y="7020000"/>
            <a:ext cx="8388062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3DD332C-DA0C-4972-BE14-F121434C057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587957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dia met zij afbeeldi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800000" y="1368000"/>
            <a:ext cx="4284000" cy="1008000"/>
          </a:xfrm>
        </p:spPr>
        <p:txBody>
          <a:bodyPr lIns="36000" tIns="36000" rIns="36000" bIns="36000" anchor="b">
            <a:noAutofit/>
          </a:bodyPr>
          <a:lstStyle>
            <a:lvl1pPr algn="l">
              <a:lnSpc>
                <a:spcPct val="90000"/>
              </a:lnSpc>
              <a:defRPr sz="3200" b="1" spc="60" baseline="0">
                <a:solidFill>
                  <a:schemeClr val="tx2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799999" y="2556000"/>
            <a:ext cx="4284000" cy="648000"/>
          </a:xfrm>
        </p:spPr>
        <p:txBody>
          <a:bodyPr lIns="36000" tIns="36000" rIns="36000" bIns="3600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spc="6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9" name="Tijdelijke aanduiding voor afbeelding 8"/>
          <p:cNvSpPr>
            <a:spLocks noGrp="1"/>
          </p:cNvSpPr>
          <p:nvPr>
            <p:ph type="pic" sz="quarter" idx="10" hasCustomPrompt="1"/>
          </p:nvPr>
        </p:nvSpPr>
        <p:spPr>
          <a:xfrm>
            <a:off x="6576000" y="0"/>
            <a:ext cx="5616000" cy="6858000"/>
          </a:xfrm>
        </p:spPr>
        <p:txBody>
          <a:bodyPr anchor="b">
            <a:normAutofit/>
          </a:bodyPr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nl-NL"/>
              <a:t>Afbeelding selecteren</a:t>
            </a:r>
          </a:p>
          <a:p>
            <a:endParaRPr lang="nl-NL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70CD22FF-D75B-4338-AF89-A3E382FA2F67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9312000" y="7020000"/>
            <a:ext cx="1680000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90AD6CDB-B5E5-441E-A421-8D155215F1E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515938" y="7020000"/>
            <a:ext cx="8388062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73246D-3A76-4C3E-91A7-79014B7B15B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598648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dia 150 jaar met onder afbeeldi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800000" y="1367999"/>
            <a:ext cx="6480000" cy="1008000"/>
          </a:xfrm>
        </p:spPr>
        <p:txBody>
          <a:bodyPr lIns="36000" tIns="36000" rIns="36000" bIns="36000" anchor="b">
            <a:noAutofit/>
          </a:bodyPr>
          <a:lstStyle>
            <a:lvl1pPr algn="l">
              <a:lnSpc>
                <a:spcPct val="90000"/>
              </a:lnSpc>
              <a:defRPr sz="3200" b="1" spc="60" baseline="0">
                <a:solidFill>
                  <a:schemeClr val="tx2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800000" y="2556000"/>
            <a:ext cx="6480000" cy="648000"/>
          </a:xfrm>
        </p:spPr>
        <p:txBody>
          <a:bodyPr lIns="36000" tIns="36000" rIns="36000" bIns="3600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000" spc="6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9" name="Tijdelijke aanduiding voor afbeelding 4"/>
          <p:cNvSpPr>
            <a:spLocks noGrp="1"/>
          </p:cNvSpPr>
          <p:nvPr>
            <p:ph type="pic" sz="quarter" idx="11" hasCustomPrompt="1"/>
          </p:nvPr>
        </p:nvSpPr>
        <p:spPr>
          <a:xfrm>
            <a:off x="4151516" y="3897313"/>
            <a:ext cx="3888000" cy="2960687"/>
          </a:xfrm>
        </p:spPr>
        <p:txBody>
          <a:bodyPr anchor="b">
            <a:normAutofit/>
          </a:bodyPr>
          <a:lstStyle>
            <a:lvl1pPr marL="0" indent="0" algn="ctr"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r>
              <a:rPr lang="nl-NL"/>
              <a:t>Afbeelding selecteren</a:t>
            </a:r>
          </a:p>
        </p:txBody>
      </p:sp>
      <p:sp>
        <p:nvSpPr>
          <p:cNvPr id="10" name="Tijdelijke aanduiding voor afbeelding 4"/>
          <p:cNvSpPr>
            <a:spLocks noGrp="1"/>
          </p:cNvSpPr>
          <p:nvPr>
            <p:ph type="pic" sz="quarter" idx="12" hasCustomPrompt="1"/>
          </p:nvPr>
        </p:nvSpPr>
        <p:spPr>
          <a:xfrm>
            <a:off x="8304000" y="3897313"/>
            <a:ext cx="3888000" cy="2959836"/>
          </a:xfrm>
        </p:spPr>
        <p:txBody>
          <a:bodyPr anchor="b">
            <a:normAutofit/>
          </a:bodyPr>
          <a:lstStyle>
            <a:lvl1pPr marL="0" indent="0" algn="ctr">
              <a:buNone/>
              <a:defRPr sz="1200" baseline="0">
                <a:solidFill>
                  <a:schemeClr val="tx2"/>
                </a:solidFill>
              </a:defRPr>
            </a:lvl1pPr>
          </a:lstStyle>
          <a:p>
            <a:r>
              <a:rPr lang="nl-NL"/>
              <a:t>Afbeelding selecteren</a:t>
            </a:r>
          </a:p>
        </p:txBody>
      </p:sp>
      <p:sp>
        <p:nvSpPr>
          <p:cNvPr id="7" name="Rechthoek 6"/>
          <p:cNvSpPr/>
          <p:nvPr userDrawn="1"/>
        </p:nvSpPr>
        <p:spPr>
          <a:xfrm>
            <a:off x="0" y="3897313"/>
            <a:ext cx="3887032" cy="29606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>
              <a:solidFill>
                <a:schemeClr val="bg2"/>
              </a:solidFill>
            </a:endParaRP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8EBC2BE1-8E6A-4724-9C09-15FAC2786F15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9312000" y="7020000"/>
            <a:ext cx="1680000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604F9E0-1E27-4C65-922C-2529471D4FA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5938" y="7020000"/>
            <a:ext cx="8388062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56F070D-747B-4E84-9B46-DDEB7688065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A3833385-3A83-4FB8-90CD-AB51CB93D0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80000"/>
            <a:ext cx="1371600" cy="686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559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oorloop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645C7E9-B132-4EEC-BF67-F348548FBE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-1080000"/>
            <a:ext cx="11233150" cy="830444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8BE503E7-EE94-4635-8BF9-28816AAF6F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12000" y="7020000"/>
            <a:ext cx="1680000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257AA01-CE66-4DAE-A789-C81590219A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7020000"/>
            <a:ext cx="8388062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2A29E0C9-0BEE-44BA-8739-841647D37D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C0496238-8748-4D99-8185-533B7D57D1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8507" y="987841"/>
            <a:ext cx="9755145" cy="4880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4531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15937" y="1520825"/>
            <a:ext cx="7740000" cy="39957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5B2C125-DBE1-42AD-A56F-FA48B495F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333375"/>
            <a:ext cx="7740000" cy="830444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AB737CEA-8486-4D34-ABC5-F0FE3A967F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12000" y="7020000"/>
            <a:ext cx="1680000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5EE2DB4E-0006-49ED-9079-B6C03DC4C3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7020000"/>
            <a:ext cx="8388062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10" name="Tijdelijke aanduiding voor dianummer 9">
            <a:extLst>
              <a:ext uri="{FF2B5EF4-FFF2-40B4-BE49-F238E27FC236}">
                <a16:creationId xmlns:a16="http://schemas.microsoft.com/office/drawing/2014/main" id="{9B5776AC-D9F7-4A46-B58D-032C7E3CE9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Tijdelijke aanduiding voor afbeelding 8">
            <a:extLst>
              <a:ext uri="{FF2B5EF4-FFF2-40B4-BE49-F238E27FC236}">
                <a16:creationId xmlns:a16="http://schemas.microsoft.com/office/drawing/2014/main" id="{72A59E6D-4E6F-456D-B215-1BB5ECD0BFD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608741" y="0"/>
            <a:ext cx="3583259" cy="2196000"/>
          </a:xfrm>
        </p:spPr>
        <p:txBody>
          <a:bodyPr anchor="b">
            <a:normAutofit/>
          </a:bodyPr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nl-NL"/>
              <a:t>Afbeelding selecteren</a:t>
            </a:r>
          </a:p>
        </p:txBody>
      </p:sp>
      <p:sp>
        <p:nvSpPr>
          <p:cNvPr id="8" name="Tijdelijke aanduiding voor afbeelding 8">
            <a:extLst>
              <a:ext uri="{FF2B5EF4-FFF2-40B4-BE49-F238E27FC236}">
                <a16:creationId xmlns:a16="http://schemas.microsoft.com/office/drawing/2014/main" id="{C0C5A2A2-C49A-4361-AD35-CD4E3688BB5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608741" y="4662000"/>
            <a:ext cx="3583259" cy="2196000"/>
          </a:xfrm>
        </p:spPr>
        <p:txBody>
          <a:bodyPr anchor="b">
            <a:normAutofit/>
          </a:bodyPr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nl-NL"/>
              <a:t>Afbeelding selecteren</a:t>
            </a:r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4B7C8F64-ABD3-4702-AB82-A16B2EFC5A1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608741" y="2331000"/>
            <a:ext cx="3583259" cy="2196000"/>
          </a:xfrm>
        </p:spPr>
        <p:txBody>
          <a:bodyPr anchor="b">
            <a:normAutofit/>
          </a:bodyPr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nl-NL"/>
              <a:t>Afbeelding selecteren</a:t>
            </a:r>
          </a:p>
        </p:txBody>
      </p:sp>
    </p:spTree>
    <p:extLst>
      <p:ext uri="{BB962C8B-B14F-4D97-AF65-F5344CB8AC3E}">
        <p14:creationId xmlns:p14="http://schemas.microsoft.com/office/powerpoint/2010/main" val="32867476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et afbeelding0 - Vrijwilleg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Tijdelijke aanduiding voor afbeelding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332160"/>
            <a:ext cx="12181902" cy="5525680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3A1C7807-8C0D-42E3-A1C7-02AD120B8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3EF0CC8E-D686-4668-8403-D6793E1C6E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312000" y="7020000"/>
            <a:ext cx="1680000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A7AF9D09-1BB6-4227-B91E-AAA15DF068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7020000"/>
            <a:ext cx="8388062" cy="216000"/>
          </a:xfrm>
        </p:spPr>
        <p:txBody>
          <a:bodyPr/>
          <a:lstStyle/>
          <a:p>
            <a:endParaRPr lang="nl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2F1175B2-DC4D-4200-9296-E9C560435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BFA9EE5E-0A92-4035-8BB0-73C0794BB78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5580000"/>
            <a:ext cx="1371600" cy="686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6651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515938" y="333375"/>
            <a:ext cx="11233150" cy="830444"/>
          </a:xfrm>
          <a:prstGeom prst="rect">
            <a:avLst/>
          </a:prstGeom>
        </p:spPr>
        <p:txBody>
          <a:bodyPr vert="horz" lIns="36000" tIns="36000" rIns="36000" bIns="36000" rtlCol="0" anchor="t">
            <a:noAutofit/>
          </a:bodyPr>
          <a:lstStyle/>
          <a:p>
            <a:r>
              <a:rPr lang="nl-NL"/>
              <a:t>Klik om de stijl te bewerken</a:t>
            </a:r>
            <a:br>
              <a:rPr lang="nl-NL"/>
            </a:br>
            <a:r>
              <a:rPr lang="nl-NL"/>
              <a:t>regel 2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515938" y="1523999"/>
            <a:ext cx="11233150" cy="3992564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9312000" y="6498000"/>
            <a:ext cx="1680000" cy="216000"/>
          </a:xfrm>
          <a:prstGeom prst="rect">
            <a:avLst/>
          </a:prstGeom>
        </p:spPr>
        <p:txBody>
          <a:bodyPr vert="horz" lIns="36000" tIns="36000" rIns="36000" bIns="36000" rtlCol="0" anchor="b" anchorCtr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515938" y="6498000"/>
            <a:ext cx="8388062" cy="216000"/>
          </a:xfrm>
          <a:prstGeom prst="rect">
            <a:avLst/>
          </a:prstGeom>
        </p:spPr>
        <p:txBody>
          <a:bodyPr vert="horz" lIns="36000" tIns="36000" rIns="36000" bIns="36000" rtlCol="0" anchor="b" anchorCtr="0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11232000" y="6498000"/>
            <a:ext cx="517088" cy="216000"/>
          </a:xfrm>
          <a:prstGeom prst="rect">
            <a:avLst/>
          </a:prstGeom>
        </p:spPr>
        <p:txBody>
          <a:bodyPr vert="horz" lIns="36000" tIns="36000" rIns="0" bIns="36000" rtlCol="0" anchor="b" anchorCtr="0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4023FC5B-98A5-49E4-B59C-E073B8952154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00ADA630-6A8A-4180-8BA7-7CA24E76C985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580000"/>
            <a:ext cx="1371600" cy="686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609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9" r:id="rId2"/>
    <p:sldLayoutId id="2147483690" r:id="rId3"/>
    <p:sldLayoutId id="2147483709" r:id="rId4"/>
    <p:sldLayoutId id="2147483686" r:id="rId5"/>
    <p:sldLayoutId id="2147483687" r:id="rId6"/>
    <p:sldLayoutId id="2147483688" r:id="rId7"/>
    <p:sldLayoutId id="2147483710" r:id="rId8"/>
    <p:sldLayoutId id="2147483691" r:id="rId9"/>
    <p:sldLayoutId id="2147483694" r:id="rId10"/>
    <p:sldLayoutId id="2147483696" r:id="rId11"/>
    <p:sldLayoutId id="2147483697" r:id="rId12"/>
    <p:sldLayoutId id="2147483698" r:id="rId13"/>
    <p:sldLayoutId id="2147483699" r:id="rId14"/>
    <p:sldLayoutId id="2147483708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7" r:id="rId21"/>
    <p:sldLayoutId id="2147483705" r:id="rId22"/>
    <p:sldLayoutId id="2147483706" r:id="rId23"/>
    <p:sldLayoutId id="2147483711" r:id="rId24"/>
    <p:sldLayoutId id="2147483712" r:id="rId25"/>
    <p:sldLayoutId id="2147483713" r:id="rId2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 spc="6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2880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400" kern="1200" spc="60" baseline="0">
          <a:solidFill>
            <a:schemeClr val="tx1"/>
          </a:solidFill>
          <a:latin typeface="+mn-lt"/>
          <a:ea typeface="+mn-ea"/>
          <a:cs typeface="+mn-cs"/>
        </a:defRPr>
      </a:lvl1pPr>
      <a:lvl2pPr marL="576000" indent="-288000" algn="l" defTabSz="2880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 spc="60" baseline="0">
          <a:solidFill>
            <a:schemeClr val="tx1"/>
          </a:solidFill>
          <a:latin typeface="+mn-lt"/>
          <a:ea typeface="+mn-ea"/>
          <a:cs typeface="+mn-cs"/>
        </a:defRPr>
      </a:lvl2pPr>
      <a:lvl3pPr marL="864000" indent="-288000" algn="l" defTabSz="2880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 spc="60" baseline="0">
          <a:solidFill>
            <a:schemeClr val="tx1"/>
          </a:solidFill>
          <a:latin typeface="+mn-lt"/>
          <a:ea typeface="+mn-ea"/>
          <a:cs typeface="+mn-cs"/>
        </a:defRPr>
      </a:lvl3pPr>
      <a:lvl4pPr marL="1152000" indent="-288000" algn="l" defTabSz="2880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 spc="60" baseline="0">
          <a:solidFill>
            <a:schemeClr val="tx1"/>
          </a:solidFill>
          <a:latin typeface="+mn-lt"/>
          <a:ea typeface="+mn-ea"/>
          <a:cs typeface="+mn-cs"/>
        </a:defRPr>
      </a:lvl4pPr>
      <a:lvl5pPr marL="1440000" indent="-288000" algn="l" defTabSz="2880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 spc="60" baseline="0">
          <a:solidFill>
            <a:schemeClr val="tx1"/>
          </a:solidFill>
          <a:latin typeface="+mn-lt"/>
          <a:ea typeface="+mn-ea"/>
          <a:cs typeface="+mn-cs"/>
        </a:defRPr>
      </a:lvl5pPr>
      <a:lvl6pPr marL="1440000" indent="-288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440000" indent="-288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288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288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325" userDrawn="1">
          <p15:clr>
            <a:srgbClr val="F26B43"/>
          </p15:clr>
        </p15:guide>
        <p15:guide id="4" pos="7401" userDrawn="1">
          <p15:clr>
            <a:srgbClr val="F26B43"/>
          </p15:clr>
        </p15:guide>
        <p15:guide id="5" orient="horz" pos="958" userDrawn="1">
          <p15:clr>
            <a:srgbClr val="F26B43"/>
          </p15:clr>
        </p15:guide>
        <p15:guide id="6" orient="horz" pos="3475" userDrawn="1">
          <p15:clr>
            <a:srgbClr val="F26B43"/>
          </p15:clr>
        </p15:guide>
        <p15:guide id="7" orient="horz" pos="210" userDrawn="1">
          <p15:clr>
            <a:srgbClr val="F26B43"/>
          </p15:clr>
        </p15:guide>
        <p15:guide id="8" orient="horz" pos="2455" userDrawn="1">
          <p15:clr>
            <a:srgbClr val="F26B43"/>
          </p15:clr>
        </p15:guide>
        <p15:guide id="9" orient="horz" pos="1865" userDrawn="1">
          <p15:clr>
            <a:srgbClr val="F26B43"/>
          </p15:clr>
        </p15:guide>
        <p15:guide id="10" orient="horz" pos="3680" userDrawn="1">
          <p15:clr>
            <a:srgbClr val="F26B43"/>
          </p15:clr>
        </p15:guide>
        <p15:guide id="11" pos="4135" userDrawn="1">
          <p15:clr>
            <a:srgbClr val="F26B43"/>
          </p15:clr>
        </p15:guide>
        <p15:guide id="12" pos="354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.xml"/><Relationship Id="rId6" Type="http://schemas.microsoft.com/office/2007/relationships/hdphoto" Target="../media/hdphoto1.wdp"/><Relationship Id="rId5" Type="http://schemas.openxmlformats.org/officeDocument/2006/relationships/image" Target="../media/image25.png"/><Relationship Id="rId4" Type="http://schemas.openxmlformats.org/officeDocument/2006/relationships/image" Target="../media/image1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0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3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4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46.jp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dl_p6PAOA2o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6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mailto:rvanrijn@redcross.nl" TargetMode="External"/><Relationship Id="rId13" Type="http://schemas.openxmlformats.org/officeDocument/2006/relationships/image" Target="../media/image17.jpg"/><Relationship Id="rId3" Type="http://schemas.openxmlformats.org/officeDocument/2006/relationships/hyperlink" Target="mailto:lhays@redcross.nl" TargetMode="External"/><Relationship Id="rId7" Type="http://schemas.openxmlformats.org/officeDocument/2006/relationships/hyperlink" Target="mailto:pboot@redcross.nl" TargetMode="External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hyperlink" Target="mailto:elemson@redcross.nl" TargetMode="External"/><Relationship Id="rId11" Type="http://schemas.openxmlformats.org/officeDocument/2006/relationships/image" Target="../media/image15.jfif"/><Relationship Id="rId5" Type="http://schemas.openxmlformats.org/officeDocument/2006/relationships/hyperlink" Target="mailto:fkamphorst@redcross.nl" TargetMode="External"/><Relationship Id="rId15" Type="http://schemas.openxmlformats.org/officeDocument/2006/relationships/image" Target="../media/image19.jpeg"/><Relationship Id="rId10" Type="http://schemas.openxmlformats.org/officeDocument/2006/relationships/image" Target="../media/image14.jpg"/><Relationship Id="rId4" Type="http://schemas.openxmlformats.org/officeDocument/2006/relationships/hyperlink" Target="mailto:mvanthielen@redcross.nl" TargetMode="External"/><Relationship Id="rId9" Type="http://schemas.openxmlformats.org/officeDocument/2006/relationships/image" Target="../media/image13.jfif"/><Relationship Id="rId14" Type="http://schemas.openxmlformats.org/officeDocument/2006/relationships/image" Target="../media/image1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2.xml"/><Relationship Id="rId1" Type="http://schemas.openxmlformats.org/officeDocument/2006/relationships/video" Target="https://www.youtube.com/embed/oWfevBF-YJ0?feature=oembed" TargetMode="External"/><Relationship Id="rId4" Type="http://schemas.openxmlformats.org/officeDocument/2006/relationships/image" Target="../media/image62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2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hyperlink" Target="mailto:rvanrijn@redcross.nl" TargetMode="External"/><Relationship Id="rId13" Type="http://schemas.openxmlformats.org/officeDocument/2006/relationships/image" Target="../media/image17.jpg"/><Relationship Id="rId3" Type="http://schemas.openxmlformats.org/officeDocument/2006/relationships/hyperlink" Target="mailto:lhays@redcross.nl" TargetMode="External"/><Relationship Id="rId7" Type="http://schemas.openxmlformats.org/officeDocument/2006/relationships/hyperlink" Target="mailto:pboot@redcross.nl" TargetMode="External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6" Type="http://schemas.openxmlformats.org/officeDocument/2006/relationships/hyperlink" Target="mailto:elemson@redcross.nl" TargetMode="External"/><Relationship Id="rId11" Type="http://schemas.openxmlformats.org/officeDocument/2006/relationships/image" Target="../media/image15.jfif"/><Relationship Id="rId5" Type="http://schemas.openxmlformats.org/officeDocument/2006/relationships/hyperlink" Target="mailto:fkamphorst@redcross.nl" TargetMode="External"/><Relationship Id="rId15" Type="http://schemas.openxmlformats.org/officeDocument/2006/relationships/image" Target="../media/image19.jpeg"/><Relationship Id="rId10" Type="http://schemas.openxmlformats.org/officeDocument/2006/relationships/image" Target="../media/image14.jpg"/><Relationship Id="rId4" Type="http://schemas.openxmlformats.org/officeDocument/2006/relationships/hyperlink" Target="mailto:mvanthielen@redcross.nl" TargetMode="External"/><Relationship Id="rId9" Type="http://schemas.openxmlformats.org/officeDocument/2006/relationships/image" Target="../media/image13.jfif"/><Relationship Id="rId14" Type="http://schemas.openxmlformats.org/officeDocument/2006/relationships/image" Target="../media/image18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 descr="Afbeelding met persoon, buitenshuis, gras, hand&#10;&#10;Automatisch gegenereerde beschrijving">
            <a:extLst>
              <a:ext uri="{FF2B5EF4-FFF2-40B4-BE49-F238E27FC236}">
                <a16:creationId xmlns:a16="http://schemas.microsoft.com/office/drawing/2014/main" id="{6F6BFF7D-47E6-4F89-98C6-D8A1DB1DE54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28613"/>
            <a:ext cx="12249330" cy="8027521"/>
          </a:xfrm>
          <a:prstGeom prst="rect">
            <a:avLst/>
          </a:prstGeom>
        </p:spPr>
      </p:pic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4F371C17-697F-ABAC-FED8-84A146DB3B3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pPr>
              <a:spcAft>
                <a:spcPts val="600"/>
              </a:spcAft>
            </a:pPr>
            <a:fld id="{4023FC5B-98A5-49E4-B59C-E073B8952154}" type="slidenum">
              <a:rPr lang="nl-NL" smtClean="0"/>
              <a:pPr>
                <a:spcAft>
                  <a:spcPts val="600"/>
                </a:spcAft>
              </a:pPr>
              <a:t>1</a:t>
            </a:fld>
            <a:endParaRPr lang="nl-NL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79EBCA33-5A19-3093-E287-5E5FD19E2A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5560586"/>
            <a:ext cx="1362075" cy="695325"/>
          </a:xfrm>
          <a:prstGeom prst="rect">
            <a:avLst/>
          </a:prstGeom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12E50B91-123B-D628-3648-287C52E641A2}"/>
              </a:ext>
            </a:extLst>
          </p:cNvPr>
          <p:cNvSpPr txBox="1">
            <a:spLocks/>
          </p:cNvSpPr>
          <p:nvPr/>
        </p:nvSpPr>
        <p:spPr>
          <a:xfrm>
            <a:off x="7259296" y="1543476"/>
            <a:ext cx="5920642" cy="2367892"/>
          </a:xfrm>
          <a:prstGeom prst="rect">
            <a:avLst/>
          </a:prstGeom>
        </p:spPr>
        <p:txBody>
          <a:bodyPr vert="horz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spc="6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3600" dirty="0" err="1">
                <a:solidFill>
                  <a:schemeClr val="accent6"/>
                </a:solidFill>
              </a:rPr>
              <a:t>Resilience</a:t>
            </a:r>
            <a:endParaRPr lang="nl-NL" sz="3600" dirty="0">
              <a:solidFill>
                <a:schemeClr val="accent6"/>
              </a:solidFill>
            </a:endParaRPr>
          </a:p>
          <a:p>
            <a:r>
              <a:rPr lang="nl-NL" dirty="0">
                <a:solidFill>
                  <a:schemeClr val="bg2"/>
                </a:solidFill>
              </a:rPr>
              <a:t>Psychosocial Support </a:t>
            </a:r>
            <a:r>
              <a:rPr lang="nl-NL" dirty="0" err="1">
                <a:solidFill>
                  <a:schemeClr val="bg2"/>
                </a:solidFill>
              </a:rPr>
              <a:t>within</a:t>
            </a:r>
            <a:r>
              <a:rPr lang="nl-NL" dirty="0">
                <a:solidFill>
                  <a:schemeClr val="bg2"/>
                </a:solidFill>
              </a:rPr>
              <a:t> </a:t>
            </a:r>
          </a:p>
          <a:p>
            <a:r>
              <a:rPr lang="nl-NL" dirty="0">
                <a:solidFill>
                  <a:schemeClr val="bg2"/>
                </a:solidFill>
              </a:rPr>
              <a:t>The Netherlands Red Cross</a:t>
            </a:r>
          </a:p>
          <a:p>
            <a:r>
              <a:rPr lang="nl-NL" dirty="0">
                <a:solidFill>
                  <a:schemeClr val="bg2"/>
                </a:solidFill>
              </a:rPr>
              <a:t>2019 - 2023 	</a:t>
            </a:r>
          </a:p>
        </p:txBody>
      </p:sp>
      <p:sp>
        <p:nvSpPr>
          <p:cNvPr id="13" name="Ondertitel 2">
            <a:extLst>
              <a:ext uri="{FF2B5EF4-FFF2-40B4-BE49-F238E27FC236}">
                <a16:creationId xmlns:a16="http://schemas.microsoft.com/office/drawing/2014/main" id="{0C7681E3-5D7B-1DDB-1974-641F60D7802E}"/>
              </a:ext>
            </a:extLst>
          </p:cNvPr>
          <p:cNvSpPr txBox="1">
            <a:spLocks/>
          </p:cNvSpPr>
          <p:nvPr/>
        </p:nvSpPr>
        <p:spPr>
          <a:xfrm>
            <a:off x="9725648" y="4599019"/>
            <a:ext cx="2334048" cy="1733330"/>
          </a:xfrm>
          <a:prstGeom prst="rect">
            <a:avLst/>
          </a:prstGeom>
        </p:spPr>
        <p:txBody>
          <a:bodyPr/>
          <a:lstStyle>
            <a:lvl1pPr marL="288000" indent="-288000" algn="l" defTabSz="2880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00" indent="-288000" algn="l" defTabSz="288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00" indent="-288000" algn="l" defTabSz="288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2000" indent="-288000" algn="l" defTabSz="288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00" indent="-288000" algn="l" defTabSz="288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2000" b="1" dirty="0" err="1">
                <a:solidFill>
                  <a:schemeClr val="bg2"/>
                </a:solidFill>
              </a:rPr>
              <a:t>Previous</a:t>
            </a:r>
            <a:r>
              <a:rPr lang="nl-NL" sz="2000" b="1" dirty="0">
                <a:solidFill>
                  <a:schemeClr val="bg2"/>
                </a:solidFill>
              </a:rPr>
              <a:t> </a:t>
            </a:r>
            <a:r>
              <a:rPr lang="nl-NL" sz="2000" b="1" dirty="0" err="1">
                <a:solidFill>
                  <a:schemeClr val="bg2"/>
                </a:solidFill>
              </a:rPr>
              <a:t>staff</a:t>
            </a:r>
            <a:r>
              <a:rPr lang="nl-NL" sz="2000" b="1" dirty="0">
                <a:solidFill>
                  <a:schemeClr val="bg2"/>
                </a:solidFill>
              </a:rPr>
              <a:t>:</a:t>
            </a:r>
          </a:p>
          <a:p>
            <a:pPr marL="0" indent="0">
              <a:buNone/>
            </a:pPr>
            <a:r>
              <a:rPr lang="nl-NL" sz="2000" dirty="0">
                <a:solidFill>
                  <a:schemeClr val="bg2"/>
                </a:solidFill>
              </a:rPr>
              <a:t>Carolien Pronk</a:t>
            </a:r>
          </a:p>
          <a:p>
            <a:pPr marL="0" indent="0">
              <a:buNone/>
            </a:pPr>
            <a:r>
              <a:rPr lang="nl-NL" sz="2000" dirty="0">
                <a:solidFill>
                  <a:schemeClr val="bg2"/>
                </a:solidFill>
              </a:rPr>
              <a:t>Madelon Bronner</a:t>
            </a:r>
          </a:p>
          <a:p>
            <a:pPr marL="0" indent="0">
              <a:buNone/>
            </a:pPr>
            <a:r>
              <a:rPr lang="nl-NL" sz="2000" dirty="0">
                <a:solidFill>
                  <a:schemeClr val="bg2"/>
                </a:solidFill>
              </a:rPr>
              <a:t>Esmée Pluijmers</a:t>
            </a:r>
          </a:p>
          <a:p>
            <a:pPr marL="0" indent="0">
              <a:buNone/>
            </a:pPr>
            <a:r>
              <a:rPr lang="nl-NL" sz="2000" dirty="0">
                <a:solidFill>
                  <a:schemeClr val="bg2"/>
                </a:solidFill>
              </a:rPr>
              <a:t> </a:t>
            </a:r>
          </a:p>
          <a:p>
            <a:pPr marL="0" indent="0">
              <a:buNone/>
            </a:pPr>
            <a:endParaRPr lang="nl-NL" sz="1800" dirty="0">
              <a:solidFill>
                <a:schemeClr val="bg2"/>
              </a:solidFill>
            </a:endParaRPr>
          </a:p>
        </p:txBody>
      </p:sp>
      <p:sp>
        <p:nvSpPr>
          <p:cNvPr id="2" name="Ondertitel 2">
            <a:extLst>
              <a:ext uri="{FF2B5EF4-FFF2-40B4-BE49-F238E27FC236}">
                <a16:creationId xmlns:a16="http://schemas.microsoft.com/office/drawing/2014/main" id="{3B392C90-8E20-E716-712C-839CC09DA552}"/>
              </a:ext>
            </a:extLst>
          </p:cNvPr>
          <p:cNvSpPr txBox="1">
            <a:spLocks/>
          </p:cNvSpPr>
          <p:nvPr/>
        </p:nvSpPr>
        <p:spPr>
          <a:xfrm>
            <a:off x="6419850" y="4599019"/>
            <a:ext cx="3173494" cy="1733330"/>
          </a:xfrm>
          <a:prstGeom prst="rect">
            <a:avLst/>
          </a:prstGeom>
        </p:spPr>
        <p:txBody>
          <a:bodyPr/>
          <a:lstStyle>
            <a:lvl1pPr marL="288000" indent="-288000" algn="l" defTabSz="2880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00" indent="-288000" algn="l" defTabSz="288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00" indent="-288000" algn="l" defTabSz="288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2000" indent="-288000" algn="l" defTabSz="288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00" indent="-288000" algn="l" defTabSz="288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2000" b="1" dirty="0" err="1">
                <a:solidFill>
                  <a:schemeClr val="bg2"/>
                </a:solidFill>
              </a:rPr>
              <a:t>Current</a:t>
            </a:r>
            <a:r>
              <a:rPr lang="nl-NL" sz="2000" b="1" dirty="0">
                <a:solidFill>
                  <a:schemeClr val="bg2"/>
                </a:solidFill>
              </a:rPr>
              <a:t> PSO </a:t>
            </a:r>
            <a:r>
              <a:rPr lang="nl-NL" sz="2000" b="1" dirty="0" err="1">
                <a:solidFill>
                  <a:schemeClr val="bg2"/>
                </a:solidFill>
              </a:rPr>
              <a:t>staff</a:t>
            </a:r>
            <a:r>
              <a:rPr lang="nl-NL" sz="2000" dirty="0">
                <a:solidFill>
                  <a:schemeClr val="bg2"/>
                </a:solidFill>
              </a:rPr>
              <a:t>: </a:t>
            </a:r>
          </a:p>
          <a:p>
            <a:pPr marL="0" indent="0">
              <a:buNone/>
            </a:pPr>
            <a:r>
              <a:rPr lang="nl-NL" sz="2000" dirty="0">
                <a:solidFill>
                  <a:schemeClr val="bg2"/>
                </a:solidFill>
              </a:rPr>
              <a:t>Liske Hays</a:t>
            </a:r>
          </a:p>
          <a:p>
            <a:pPr marL="0" indent="0">
              <a:buNone/>
            </a:pPr>
            <a:r>
              <a:rPr lang="nl-NL" sz="2000" dirty="0">
                <a:solidFill>
                  <a:schemeClr val="bg2"/>
                </a:solidFill>
              </a:rPr>
              <a:t>Marijke van Thielen</a:t>
            </a:r>
          </a:p>
          <a:p>
            <a:pPr marL="0" indent="0">
              <a:buNone/>
            </a:pPr>
            <a:r>
              <a:rPr lang="nl-NL" sz="2000" dirty="0">
                <a:solidFill>
                  <a:schemeClr val="bg2"/>
                </a:solidFill>
              </a:rPr>
              <a:t>Famke Kamphorst</a:t>
            </a:r>
          </a:p>
          <a:p>
            <a:pPr marL="0" indent="0">
              <a:buNone/>
            </a:pPr>
            <a:r>
              <a:rPr lang="nl-NL" sz="2000" dirty="0">
                <a:solidFill>
                  <a:schemeClr val="bg2"/>
                </a:solidFill>
              </a:rPr>
              <a:t>Ruth van Rhijn </a:t>
            </a:r>
          </a:p>
        </p:txBody>
      </p:sp>
    </p:spTree>
    <p:extLst>
      <p:ext uri="{BB962C8B-B14F-4D97-AF65-F5344CB8AC3E}">
        <p14:creationId xmlns:p14="http://schemas.microsoft.com/office/powerpoint/2010/main" val="7310094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38420A-A187-4581-8731-1F774B8D1C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38420A-A187-4581-8731-1F774B8D1C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De bronafbeelding bekijken">
            <a:extLst>
              <a:ext uri="{FF2B5EF4-FFF2-40B4-BE49-F238E27FC236}">
                <a16:creationId xmlns:a16="http://schemas.microsoft.com/office/drawing/2014/main" id="{56875277-31CC-4B4A-908A-D1F68679FB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3977" y="429107"/>
            <a:ext cx="9933949" cy="1446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751FC138-496D-46AE-882D-1AC988428A99}"/>
              </a:ext>
            </a:extLst>
          </p:cNvPr>
          <p:cNvSpPr/>
          <p:nvPr/>
        </p:nvSpPr>
        <p:spPr>
          <a:xfrm>
            <a:off x="2439025" y="753748"/>
            <a:ext cx="9011194" cy="1159224"/>
          </a:xfrm>
          <a:prstGeom prst="triangle">
            <a:avLst>
              <a:gd name="adj" fmla="val 50228"/>
            </a:avLst>
          </a:prstGeom>
          <a:solidFill>
            <a:srgbClr val="4B6E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2BE78F-6F4B-4F04-B8F2-8AFA02768335}"/>
              </a:ext>
            </a:extLst>
          </p:cNvPr>
          <p:cNvSpPr/>
          <p:nvPr/>
        </p:nvSpPr>
        <p:spPr>
          <a:xfrm>
            <a:off x="4005706" y="1096421"/>
            <a:ext cx="594582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Strengthen the resilience of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ople in need and that of our staff and volunteer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33FE364-CD40-4A5D-BD6E-423977E03EFB}"/>
              </a:ext>
            </a:extLst>
          </p:cNvPr>
          <p:cNvSpPr/>
          <p:nvPr/>
        </p:nvSpPr>
        <p:spPr>
          <a:xfrm>
            <a:off x="2462837" y="2018224"/>
            <a:ext cx="9011194" cy="540000"/>
          </a:xfrm>
          <a:prstGeom prst="rect">
            <a:avLst/>
          </a:prstGeom>
          <a:solidFill>
            <a:srgbClr val="5C86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 strengthen the resilience by offering psychosocial support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sed on the 5 principles of </a:t>
            </a:r>
            <a:r>
              <a:rPr lang="en-US" sz="1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bfoll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safety, calmness, connectivity, resilience and hop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FE8415-2824-46C9-B33B-0EEA0DDD95AF}"/>
              </a:ext>
            </a:extLst>
          </p:cNvPr>
          <p:cNvSpPr/>
          <p:nvPr/>
        </p:nvSpPr>
        <p:spPr>
          <a:xfrm>
            <a:off x="2468300" y="2593487"/>
            <a:ext cx="2970000" cy="2128458"/>
          </a:xfrm>
          <a:prstGeom prst="rect">
            <a:avLst/>
          </a:prstGeom>
          <a:solidFill>
            <a:srgbClr val="D0E5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sychosocial Support for people in emergencies</a:t>
            </a:r>
          </a:p>
          <a:p>
            <a:pPr marL="285750" indent="-285750" algn="ctr">
              <a:buFontTx/>
              <a:buChar char="-"/>
            </a:pPr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ctr">
              <a:buFontTx/>
              <a:buChar char="-"/>
            </a:pPr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ctr">
              <a:buFontTx/>
              <a:buChar char="-"/>
            </a:pPr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CC7788-DD4F-4C23-84B3-08C7D1CBE7BC}"/>
              </a:ext>
            </a:extLst>
          </p:cNvPr>
          <p:cNvSpPr/>
          <p:nvPr/>
        </p:nvSpPr>
        <p:spPr>
          <a:xfrm>
            <a:off x="5493618" y="2593487"/>
            <a:ext cx="2970000" cy="2128458"/>
          </a:xfrm>
          <a:prstGeom prst="rect">
            <a:avLst/>
          </a:prstGeom>
          <a:solidFill>
            <a:srgbClr val="D0E5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engthening the resilience of people in need and in vulnerable situation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BFFDF80-6A58-42A4-A008-D86E84319D75}"/>
              </a:ext>
            </a:extLst>
          </p:cNvPr>
          <p:cNvSpPr/>
          <p:nvPr/>
        </p:nvSpPr>
        <p:spPr>
          <a:xfrm>
            <a:off x="8513661" y="2593487"/>
            <a:ext cx="2970000" cy="2128458"/>
          </a:xfrm>
          <a:prstGeom prst="rect">
            <a:avLst/>
          </a:prstGeom>
          <a:solidFill>
            <a:srgbClr val="D0E5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engthening the resilience of our help givers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B195C29-7340-4E6A-9E48-A98EBDA8290A}"/>
              </a:ext>
            </a:extLst>
          </p:cNvPr>
          <p:cNvSpPr/>
          <p:nvPr/>
        </p:nvSpPr>
        <p:spPr>
          <a:xfrm>
            <a:off x="2457468" y="4755262"/>
            <a:ext cx="9011194" cy="432000"/>
          </a:xfrm>
          <a:prstGeom prst="rect">
            <a:avLst/>
          </a:prstGeom>
          <a:solidFill>
            <a:srgbClr val="6E95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5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ive listening, Support, Sharing Knowledge, Provision of tools and training skills, </a:t>
            </a:r>
          </a:p>
          <a:p>
            <a:pPr algn="ctr"/>
            <a:r>
              <a:rPr lang="en-US" sz="115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enforcing people’s own strengths and sources of support, recognizing, referring to proper care 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B9C6D62-3B60-4524-A157-4646F8B6A4D7}"/>
              </a:ext>
            </a:extLst>
          </p:cNvPr>
          <p:cNvSpPr txBox="1"/>
          <p:nvPr/>
        </p:nvSpPr>
        <p:spPr>
          <a:xfrm>
            <a:off x="1551703" y="1029414"/>
            <a:ext cx="400110" cy="923330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Miss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CF9F5EE-ECCB-4E3D-89AD-00E1E17B19DD}"/>
              </a:ext>
            </a:extLst>
          </p:cNvPr>
          <p:cNvSpPr txBox="1"/>
          <p:nvPr/>
        </p:nvSpPr>
        <p:spPr>
          <a:xfrm>
            <a:off x="1551703" y="1693288"/>
            <a:ext cx="400110" cy="836365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Vis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EF4418D-3051-4565-A9B5-59D9CB6E2F32}"/>
              </a:ext>
            </a:extLst>
          </p:cNvPr>
          <p:cNvSpPr txBox="1"/>
          <p:nvPr/>
        </p:nvSpPr>
        <p:spPr>
          <a:xfrm>
            <a:off x="1570752" y="2535063"/>
            <a:ext cx="400110" cy="1754326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Strategic pillar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F7F2C49-2035-479A-A015-2200310C90EB}"/>
              </a:ext>
            </a:extLst>
          </p:cNvPr>
          <p:cNvSpPr txBox="1"/>
          <p:nvPr/>
        </p:nvSpPr>
        <p:spPr>
          <a:xfrm>
            <a:off x="1551703" y="5002723"/>
            <a:ext cx="400110" cy="923329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Valu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E37623F-2365-4B29-BA36-897CBE17F2AA}"/>
              </a:ext>
            </a:extLst>
          </p:cNvPr>
          <p:cNvSpPr txBox="1"/>
          <p:nvPr/>
        </p:nvSpPr>
        <p:spPr>
          <a:xfrm>
            <a:off x="2534892" y="3284267"/>
            <a:ext cx="2836816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en-US" sz="1150" dirty="0">
                <a:latin typeface="Calibri" panose="020F0502020204030204" pitchFamily="34" charset="0"/>
                <a:cs typeface="Calibri" panose="020F0502020204030204" pitchFamily="34" charset="0"/>
              </a:rPr>
              <a:t>Being there among the first ones in emergency situations to provide support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en-US" sz="1150" dirty="0">
                <a:latin typeface="Calibri" panose="020F0502020204030204" pitchFamily="34" charset="0"/>
                <a:cs typeface="Calibri" panose="020F0502020204030204" pitchFamily="34" charset="0"/>
              </a:rPr>
              <a:t>Providing Psychological First Aid through our volunteers and staff 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en-US" sz="1150" dirty="0">
                <a:latin typeface="Calibri" panose="020F0502020204030204" pitchFamily="34" charset="0"/>
                <a:cs typeface="Calibri" panose="020F0502020204030204" pitchFamily="34" charset="0"/>
              </a:rPr>
              <a:t>Future: </a:t>
            </a:r>
            <a:r>
              <a:rPr lang="en-US" sz="1150" dirty="0" err="1">
                <a:latin typeface="Calibri" panose="020F0502020204030204" pitchFamily="34" charset="0"/>
                <a:cs typeface="Calibri" panose="020F0502020204030204" pitchFamily="34" charset="0"/>
              </a:rPr>
              <a:t>Structurd</a:t>
            </a:r>
            <a:r>
              <a:rPr lang="en-US" sz="1150" dirty="0"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en-US" sz="1150" dirty="0" err="1">
                <a:latin typeface="Calibri" panose="020F0502020204030204" pitchFamily="34" charset="0"/>
                <a:cs typeface="Calibri" panose="020F0502020204030204" pitchFamily="34" charset="0"/>
              </a:rPr>
              <a:t>standartised</a:t>
            </a:r>
            <a:r>
              <a:rPr lang="en-US" sz="1150" dirty="0">
                <a:latin typeface="Calibri" panose="020F0502020204030204" pitchFamily="34" charset="0"/>
                <a:cs typeface="Calibri" panose="020F0502020204030204" pitchFamily="34" charset="0"/>
              </a:rPr>
              <a:t> agreements with partner </a:t>
            </a:r>
            <a:r>
              <a:rPr lang="en-US" sz="1150" dirty="0" err="1">
                <a:latin typeface="Calibri" panose="020F0502020204030204" pitchFamily="34" charset="0"/>
                <a:cs typeface="Calibri" panose="020F0502020204030204" pitchFamily="34" charset="0"/>
              </a:rPr>
              <a:t>organisations</a:t>
            </a:r>
            <a:r>
              <a:rPr lang="en-US" sz="115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DCED586-C2E9-40D0-B708-70E63CA607DA}"/>
              </a:ext>
            </a:extLst>
          </p:cNvPr>
          <p:cNvSpPr txBox="1"/>
          <p:nvPr/>
        </p:nvSpPr>
        <p:spPr>
          <a:xfrm>
            <a:off x="5561952" y="3284267"/>
            <a:ext cx="2906278" cy="11618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>
              <a:buFont typeface="Arial" panose="020B0604020202020204" pitchFamily="34" charset="0"/>
              <a:buChar char="•"/>
            </a:pPr>
            <a:r>
              <a:rPr lang="nl-NL" sz="1150" dirty="0" err="1">
                <a:latin typeface="Calibri" panose="020F0502020204030204" pitchFamily="34" charset="0"/>
                <a:cs typeface="Calibri" panose="020F0502020204030204" pitchFamily="34" charset="0"/>
              </a:rPr>
              <a:t>Focussed</a:t>
            </a:r>
            <a:r>
              <a:rPr lang="nl-NL" sz="115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1150" dirty="0" err="1">
                <a:latin typeface="Calibri" panose="020F0502020204030204" pitchFamily="34" charset="0"/>
                <a:cs typeface="Calibri" panose="020F0502020204030204" pitchFamily="34" charset="0"/>
              </a:rPr>
              <a:t>psychosocial</a:t>
            </a:r>
            <a:r>
              <a:rPr lang="nl-NL" sz="1150" dirty="0">
                <a:latin typeface="Calibri" panose="020F0502020204030204" pitchFamily="34" charset="0"/>
                <a:cs typeface="Calibri" panose="020F0502020204030204" pitchFamily="34" charset="0"/>
              </a:rPr>
              <a:t> support </a:t>
            </a:r>
            <a:r>
              <a:rPr lang="nl-NL" sz="1150" dirty="0" err="1">
                <a:latin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lang="nl-NL" sz="115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1150" dirty="0" err="1">
                <a:latin typeface="Calibri" panose="020F0502020204030204" pitchFamily="34" charset="0"/>
                <a:cs typeface="Calibri" panose="020F0502020204030204" pitchFamily="34" charset="0"/>
              </a:rPr>
              <a:t>national</a:t>
            </a:r>
            <a:r>
              <a:rPr lang="nl-NL" sz="115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1150" dirty="0" err="1">
                <a:latin typeface="Calibri" panose="020F0502020204030204" pitchFamily="34" charset="0"/>
                <a:cs typeface="Calibri" panose="020F0502020204030204" pitchFamily="34" charset="0"/>
              </a:rPr>
              <a:t>direction</a:t>
            </a:r>
            <a:r>
              <a:rPr lang="nl-NL" sz="115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nl-NL" sz="1150" dirty="0" err="1">
                <a:latin typeface="Calibri" panose="020F0502020204030204" pitchFamily="34" charset="0"/>
                <a:cs typeface="Calibri" panose="020F0502020204030204" pitchFamily="34" charset="0"/>
              </a:rPr>
              <a:t>regional</a:t>
            </a:r>
            <a:r>
              <a:rPr lang="nl-NL" sz="115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1150" dirty="0" err="1">
                <a:latin typeface="Calibri" panose="020F0502020204030204" pitchFamily="34" charset="0"/>
                <a:cs typeface="Calibri" panose="020F0502020204030204" pitchFamily="34" charset="0"/>
              </a:rPr>
              <a:t>and</a:t>
            </a:r>
            <a:r>
              <a:rPr lang="nl-NL" sz="115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1150" dirty="0" err="1">
                <a:latin typeface="Calibri" panose="020F0502020204030204" pitchFamily="34" charset="0"/>
                <a:cs typeface="Calibri" panose="020F0502020204030204" pitchFamily="34" charset="0"/>
              </a:rPr>
              <a:t>local</a:t>
            </a:r>
            <a:r>
              <a:rPr lang="nl-NL" sz="115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1150" dirty="0" err="1">
                <a:latin typeface="Calibri" panose="020F0502020204030204" pitchFamily="34" charset="0"/>
                <a:cs typeface="Calibri" panose="020F0502020204030204" pitchFamily="34" charset="0"/>
              </a:rPr>
              <a:t>implementarion</a:t>
            </a:r>
            <a:r>
              <a:rPr lang="nl-NL" sz="115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1150" dirty="0" err="1">
                <a:latin typeface="Calibri" panose="020F0502020204030204" pitchFamily="34" charset="0"/>
                <a:cs typeface="Calibri" panose="020F0502020204030204" pitchFamily="34" charset="0"/>
              </a:rPr>
              <a:t>and</a:t>
            </a:r>
            <a:r>
              <a:rPr lang="nl-NL" sz="1150" dirty="0">
                <a:latin typeface="Calibri" panose="020F0502020204030204" pitchFamily="34" charset="0"/>
                <a:cs typeface="Calibri" panose="020F0502020204030204" pitchFamily="34" charset="0"/>
              </a:rPr>
              <a:t> PSS </a:t>
            </a:r>
            <a:r>
              <a:rPr lang="nl-NL" sz="1150" dirty="0" err="1">
                <a:latin typeface="Calibri" panose="020F0502020204030204" pitchFamily="34" charset="0"/>
                <a:cs typeface="Calibri" panose="020F0502020204030204" pitchFamily="34" charset="0"/>
              </a:rPr>
              <a:t>specialists</a:t>
            </a:r>
            <a:r>
              <a:rPr lang="nl-NL" sz="115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15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r>
              <a:rPr lang="en-US" sz="1150" dirty="0">
                <a:latin typeface="Calibri" panose="020F0502020204030204" pitchFamily="34" charset="0"/>
                <a:cs typeface="Calibri" panose="020F0502020204030204" pitchFamily="34" charset="0"/>
              </a:rPr>
              <a:t>Public campaigns for people in vulnerable circumstances</a:t>
            </a:r>
          </a:p>
          <a:p>
            <a:pPr marL="182563" indent="-182563">
              <a:buFont typeface="Arial" panose="020B0604020202020204" pitchFamily="34" charset="0"/>
              <a:buChar char="•"/>
            </a:pP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6D30685-8983-434E-94BF-B799CF6ED3CF}"/>
              </a:ext>
            </a:extLst>
          </p:cNvPr>
          <p:cNvSpPr txBox="1"/>
          <p:nvPr/>
        </p:nvSpPr>
        <p:spPr>
          <a:xfrm>
            <a:off x="8567029" y="3259632"/>
            <a:ext cx="2891081" cy="17004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nl-NL" sz="115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ational </a:t>
            </a:r>
            <a:r>
              <a:rPr lang="nl-NL" sz="115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ide</a:t>
            </a:r>
            <a:r>
              <a:rPr lang="nl-NL" sz="115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nl-NL" sz="115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ructure</a:t>
            </a:r>
            <a:r>
              <a:rPr lang="nl-NL" sz="115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to </a:t>
            </a:r>
            <a:r>
              <a:rPr lang="nl-NL" sz="115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vide</a:t>
            </a:r>
            <a:r>
              <a:rPr lang="nl-NL" sz="115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Team </a:t>
            </a:r>
            <a:r>
              <a:rPr lang="nl-NL" sz="115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legial</a:t>
            </a:r>
            <a:r>
              <a:rPr lang="nl-NL" sz="115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Support in </a:t>
            </a:r>
            <a:r>
              <a:rPr lang="nl-NL" sz="115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ich</a:t>
            </a:r>
            <a:r>
              <a:rPr lang="nl-NL" sz="115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nl-NL" sz="115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rained</a:t>
            </a:r>
            <a:r>
              <a:rPr lang="nl-NL" sz="115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nl-NL" sz="115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lunteers</a:t>
            </a:r>
            <a:r>
              <a:rPr lang="nl-NL" sz="115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offer peer support to </a:t>
            </a:r>
            <a:r>
              <a:rPr lang="nl-NL" sz="115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llegues</a:t>
            </a:r>
            <a:r>
              <a:rPr lang="nl-NL" sz="115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nl-NL" sz="115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nd</a:t>
            </a:r>
            <a:r>
              <a:rPr lang="nl-NL" sz="115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are present </a:t>
            </a:r>
            <a:r>
              <a:rPr lang="nl-NL" sz="115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uring</a:t>
            </a:r>
            <a:r>
              <a:rPr lang="nl-NL" sz="115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high risk </a:t>
            </a:r>
            <a:r>
              <a:rPr lang="nl-NL" sz="115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hifts</a:t>
            </a:r>
            <a:endParaRPr lang="nl-NL" sz="115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nl-NL" sz="115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evention of </a:t>
            </a:r>
            <a:r>
              <a:rPr lang="nl-NL" sz="115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sychological</a:t>
            </a:r>
            <a:r>
              <a:rPr lang="nl-NL" sz="115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nl-NL" sz="115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blems</a:t>
            </a:r>
            <a:r>
              <a:rPr lang="nl-NL" sz="115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nl-NL" sz="115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orugh</a:t>
            </a:r>
            <a:r>
              <a:rPr lang="nl-NL" sz="115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nl-NL" sz="1150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reaking</a:t>
            </a:r>
            <a:r>
              <a:rPr lang="nl-NL" sz="115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the taboe, </a:t>
            </a:r>
            <a:r>
              <a:rPr lang="nl-NL" sz="1150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assuring</a:t>
            </a:r>
            <a:r>
              <a:rPr lang="nl-NL" sz="115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nl-NL" sz="1150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quality</a:t>
            </a:r>
            <a:r>
              <a:rPr lang="nl-NL" sz="115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nl-NL" sz="1150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andards</a:t>
            </a:r>
            <a:r>
              <a:rPr lang="nl-NL" sz="115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nl-NL" sz="1150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nd</a:t>
            </a:r>
            <a:r>
              <a:rPr lang="nl-NL" sz="115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nl-NL" sz="1150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sure</a:t>
            </a:r>
            <a:r>
              <a:rPr lang="nl-NL" sz="115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nl-NL" sz="1150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lf</a:t>
            </a:r>
            <a:r>
              <a:rPr lang="nl-NL" sz="1150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-care </a:t>
            </a:r>
            <a:endParaRPr lang="nl-NL" sz="115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endParaRPr lang="en-US" sz="1200" i="1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2563" indent="-182563">
              <a:buFont typeface="Arial" panose="020B0604020202020204" pitchFamily="34" charset="0"/>
              <a:buChar char="•"/>
            </a:pP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Rechthoek 23">
            <a:extLst>
              <a:ext uri="{FF2B5EF4-FFF2-40B4-BE49-F238E27FC236}">
                <a16:creationId xmlns:a16="http://schemas.microsoft.com/office/drawing/2014/main" id="{AAA4EFDB-F1F6-4C9D-B0B4-3C36826817E4}"/>
              </a:ext>
            </a:extLst>
          </p:cNvPr>
          <p:cNvSpPr/>
          <p:nvPr/>
        </p:nvSpPr>
        <p:spPr>
          <a:xfrm flipV="1">
            <a:off x="2468434" y="1944615"/>
            <a:ext cx="9000000" cy="45719"/>
          </a:xfrm>
          <a:prstGeom prst="rect">
            <a:avLst/>
          </a:prstGeom>
          <a:solidFill>
            <a:srgbClr val="DD281F"/>
          </a:solidFill>
          <a:ln>
            <a:solidFill>
              <a:srgbClr val="DD28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Linkeraccolade 6">
            <a:extLst>
              <a:ext uri="{FF2B5EF4-FFF2-40B4-BE49-F238E27FC236}">
                <a16:creationId xmlns:a16="http://schemas.microsoft.com/office/drawing/2014/main" id="{B713B4C5-CEC9-45EF-A5EB-FF5282624B9C}"/>
              </a:ext>
            </a:extLst>
          </p:cNvPr>
          <p:cNvSpPr/>
          <p:nvPr/>
        </p:nvSpPr>
        <p:spPr>
          <a:xfrm>
            <a:off x="2172382" y="5237667"/>
            <a:ext cx="144000" cy="468000"/>
          </a:xfrm>
          <a:prstGeom prst="leftBrace">
            <a:avLst>
              <a:gd name="adj1" fmla="val 74402"/>
              <a:gd name="adj2" fmla="val 50000"/>
            </a:avLst>
          </a:prstGeom>
          <a:ln w="25400">
            <a:solidFill>
              <a:srgbClr val="E423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" name="Linkeraccolade 26">
            <a:extLst>
              <a:ext uri="{FF2B5EF4-FFF2-40B4-BE49-F238E27FC236}">
                <a16:creationId xmlns:a16="http://schemas.microsoft.com/office/drawing/2014/main" id="{C74E12B7-D2A6-425C-AB9B-B38AF4D9FD8D}"/>
              </a:ext>
            </a:extLst>
          </p:cNvPr>
          <p:cNvSpPr/>
          <p:nvPr/>
        </p:nvSpPr>
        <p:spPr>
          <a:xfrm>
            <a:off x="2105707" y="2063846"/>
            <a:ext cx="240123" cy="468000"/>
          </a:xfrm>
          <a:prstGeom prst="leftBrace">
            <a:avLst>
              <a:gd name="adj1" fmla="val 74402"/>
              <a:gd name="adj2" fmla="val 50000"/>
            </a:avLst>
          </a:prstGeom>
          <a:ln w="25400">
            <a:solidFill>
              <a:srgbClr val="E423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Linkeraccolade 27">
            <a:extLst>
              <a:ext uri="{FF2B5EF4-FFF2-40B4-BE49-F238E27FC236}">
                <a16:creationId xmlns:a16="http://schemas.microsoft.com/office/drawing/2014/main" id="{C6505916-82BE-4041-9CD1-1CCD57E41012}"/>
              </a:ext>
            </a:extLst>
          </p:cNvPr>
          <p:cNvSpPr/>
          <p:nvPr/>
        </p:nvSpPr>
        <p:spPr>
          <a:xfrm>
            <a:off x="2094925" y="2764041"/>
            <a:ext cx="240123" cy="1728000"/>
          </a:xfrm>
          <a:prstGeom prst="leftBrace">
            <a:avLst>
              <a:gd name="adj1" fmla="val 74402"/>
              <a:gd name="adj2" fmla="val 50000"/>
            </a:avLst>
          </a:prstGeom>
          <a:ln w="25400">
            <a:solidFill>
              <a:srgbClr val="E423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Rectangle 14">
            <a:extLst>
              <a:ext uri="{FF2B5EF4-FFF2-40B4-BE49-F238E27FC236}">
                <a16:creationId xmlns:a16="http://schemas.microsoft.com/office/drawing/2014/main" id="{7326F62F-48DF-4CFC-88B6-4A6F40F94CFD}"/>
              </a:ext>
            </a:extLst>
          </p:cNvPr>
          <p:cNvSpPr/>
          <p:nvPr/>
        </p:nvSpPr>
        <p:spPr>
          <a:xfrm>
            <a:off x="2454840" y="5210288"/>
            <a:ext cx="9011194" cy="432000"/>
          </a:xfrm>
          <a:prstGeom prst="rect">
            <a:avLst/>
          </a:prstGeom>
          <a:solidFill>
            <a:srgbClr val="F596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umanity – </a:t>
            </a:r>
            <a:r>
              <a:rPr lang="en-US" sz="1400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partiality</a:t>
            </a:r>
            <a:r>
              <a:rPr lang="en-US" sz="14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Neutrality – Independence – Voluntary – Unity – </a:t>
            </a:r>
            <a:r>
              <a:rPr lang="en-US" sz="1400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neralit</a:t>
            </a:r>
            <a:endParaRPr lang="en-US" sz="14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9" name="TextBox 19">
            <a:extLst>
              <a:ext uri="{FF2B5EF4-FFF2-40B4-BE49-F238E27FC236}">
                <a16:creationId xmlns:a16="http://schemas.microsoft.com/office/drawing/2014/main" id="{7B40A441-D22E-4DBC-8C02-0BA4C8682008}"/>
              </a:ext>
            </a:extLst>
          </p:cNvPr>
          <p:cNvSpPr txBox="1"/>
          <p:nvPr/>
        </p:nvSpPr>
        <p:spPr>
          <a:xfrm>
            <a:off x="1542178" y="4148668"/>
            <a:ext cx="400110" cy="923329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Actions</a:t>
            </a:r>
          </a:p>
        </p:txBody>
      </p:sp>
      <p:sp>
        <p:nvSpPr>
          <p:cNvPr id="30" name="Linkeraccolade 29">
            <a:extLst>
              <a:ext uri="{FF2B5EF4-FFF2-40B4-BE49-F238E27FC236}">
                <a16:creationId xmlns:a16="http://schemas.microsoft.com/office/drawing/2014/main" id="{2A2303A3-7237-49A4-AB59-E480B8FF9002}"/>
              </a:ext>
            </a:extLst>
          </p:cNvPr>
          <p:cNvSpPr/>
          <p:nvPr/>
        </p:nvSpPr>
        <p:spPr>
          <a:xfrm>
            <a:off x="2162857" y="4682892"/>
            <a:ext cx="144000" cy="468000"/>
          </a:xfrm>
          <a:prstGeom prst="leftBrace">
            <a:avLst>
              <a:gd name="adj1" fmla="val 74402"/>
              <a:gd name="adj2" fmla="val 50000"/>
            </a:avLst>
          </a:prstGeom>
          <a:ln w="25400">
            <a:solidFill>
              <a:srgbClr val="E423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1" name="Rectangle 9">
            <a:extLst>
              <a:ext uri="{FF2B5EF4-FFF2-40B4-BE49-F238E27FC236}">
                <a16:creationId xmlns:a16="http://schemas.microsoft.com/office/drawing/2014/main" id="{317352ED-1B89-4B1D-9594-79B93F91C0E1}"/>
              </a:ext>
            </a:extLst>
          </p:cNvPr>
          <p:cNvSpPr/>
          <p:nvPr/>
        </p:nvSpPr>
        <p:spPr>
          <a:xfrm>
            <a:off x="5162921" y="1708528"/>
            <a:ext cx="594582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1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ilience</a:t>
            </a:r>
            <a:r>
              <a:rPr lang="nl-NL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1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t</a:t>
            </a:r>
            <a:r>
              <a:rPr lang="nl-NL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he </a:t>
            </a:r>
            <a:r>
              <a:rPr lang="nl-NL" sz="1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pability</a:t>
            </a:r>
            <a:r>
              <a:rPr lang="nl-NL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o deal </a:t>
            </a:r>
            <a:r>
              <a:rPr lang="nl-NL" sz="1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lang="nl-NL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tress </a:t>
            </a:r>
            <a:r>
              <a:rPr lang="nl-NL" sz="1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</a:t>
            </a:r>
            <a:r>
              <a:rPr lang="nl-NL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nl-NL" sz="10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sfortune</a:t>
            </a:r>
            <a:endParaRPr lang="nl-NL" sz="10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BC3E9D62-745C-4A59-A551-7DD0CAB2B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15" y="203092"/>
            <a:ext cx="10772775" cy="1023616"/>
          </a:xfrm>
        </p:spPr>
        <p:txBody>
          <a:bodyPr vert="horz">
            <a:normAutofit/>
          </a:bodyPr>
          <a:lstStyle/>
          <a:p>
            <a:r>
              <a:rPr lang="en-US" sz="28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LRC MHPSS Strategic House</a:t>
            </a:r>
          </a:p>
        </p:txBody>
      </p:sp>
    </p:spTree>
    <p:extLst>
      <p:ext uri="{BB962C8B-B14F-4D97-AF65-F5344CB8AC3E}">
        <p14:creationId xmlns:p14="http://schemas.microsoft.com/office/powerpoint/2010/main" val="9588860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1482571" y="897483"/>
            <a:ext cx="6480000" cy="1008000"/>
          </a:xfrm>
        </p:spPr>
        <p:txBody>
          <a:bodyPr/>
          <a:lstStyle/>
          <a:p>
            <a:r>
              <a:rPr lang="nl-NL" dirty="0">
                <a:solidFill>
                  <a:schemeClr val="accent1"/>
                </a:solidFill>
              </a:rPr>
              <a:t>3. </a:t>
            </a:r>
            <a:r>
              <a:rPr lang="nl-NL" dirty="0" err="1">
                <a:solidFill>
                  <a:schemeClr val="accent1"/>
                </a:solidFill>
              </a:rPr>
              <a:t>Overview</a:t>
            </a:r>
            <a:r>
              <a:rPr lang="nl-NL" dirty="0">
                <a:solidFill>
                  <a:schemeClr val="accent1"/>
                </a:solidFill>
              </a:rPr>
              <a:t> of </a:t>
            </a:r>
            <a:r>
              <a:rPr lang="nl-NL" dirty="0" err="1">
                <a:solidFill>
                  <a:schemeClr val="accent1"/>
                </a:solidFill>
              </a:rPr>
              <a:t>current</a:t>
            </a:r>
            <a:r>
              <a:rPr lang="nl-NL" dirty="0">
                <a:solidFill>
                  <a:schemeClr val="accent1"/>
                </a:solidFill>
              </a:rPr>
              <a:t> </a:t>
            </a:r>
            <a:r>
              <a:rPr lang="nl-NL" dirty="0" err="1">
                <a:solidFill>
                  <a:schemeClr val="accent1"/>
                </a:solidFill>
              </a:rPr>
              <a:t>psychosocial</a:t>
            </a:r>
            <a:r>
              <a:rPr lang="nl-NL" dirty="0">
                <a:solidFill>
                  <a:schemeClr val="accent1"/>
                </a:solidFill>
              </a:rPr>
              <a:t> support </a:t>
            </a:r>
            <a:r>
              <a:rPr lang="nl-NL" dirty="0" err="1">
                <a:solidFill>
                  <a:schemeClr val="accent1"/>
                </a:solidFill>
              </a:rPr>
              <a:t>intervention</a:t>
            </a:r>
            <a:r>
              <a:rPr lang="nl-NL" dirty="0">
                <a:solidFill>
                  <a:schemeClr val="accent1"/>
                </a:solidFill>
              </a:rPr>
              <a:t>  </a:t>
            </a:r>
            <a:r>
              <a:rPr lang="nl-NL" dirty="0" err="1">
                <a:solidFill>
                  <a:schemeClr val="accent1"/>
                </a:solidFill>
              </a:rPr>
              <a:t>based</a:t>
            </a:r>
            <a:r>
              <a:rPr lang="nl-NL" dirty="0">
                <a:solidFill>
                  <a:schemeClr val="accent1"/>
                </a:solidFill>
              </a:rPr>
              <a:t> on the </a:t>
            </a:r>
            <a:r>
              <a:rPr lang="nl-NL" dirty="0" err="1">
                <a:solidFill>
                  <a:schemeClr val="accent1"/>
                </a:solidFill>
              </a:rPr>
              <a:t>strategic</a:t>
            </a:r>
            <a:r>
              <a:rPr lang="nl-NL" dirty="0">
                <a:solidFill>
                  <a:schemeClr val="accent1"/>
                </a:solidFill>
              </a:rPr>
              <a:t> PSS-</a:t>
            </a:r>
            <a:r>
              <a:rPr lang="nl-NL" dirty="0" err="1">
                <a:solidFill>
                  <a:schemeClr val="accent1"/>
                </a:solidFill>
              </a:rPr>
              <a:t>pillars</a:t>
            </a:r>
            <a:endParaRPr lang="nl-NL" dirty="0">
              <a:solidFill>
                <a:schemeClr val="accent1"/>
              </a:solidFill>
            </a:endParaRPr>
          </a:p>
        </p:txBody>
      </p:sp>
      <p:sp>
        <p:nvSpPr>
          <p:cNvPr id="5" name="Ondertitel 4"/>
          <p:cNvSpPr>
            <a:spLocks noGrp="1"/>
          </p:cNvSpPr>
          <p:nvPr>
            <p:ph type="subTitle" idx="1"/>
          </p:nvPr>
        </p:nvSpPr>
        <p:spPr>
          <a:xfrm>
            <a:off x="1482571" y="2556000"/>
            <a:ext cx="6797429" cy="648000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sic Psychosocial Support for people in emergencies</a:t>
            </a:r>
          </a:p>
          <a:p>
            <a:pPr marL="457200" indent="-457200">
              <a:buFont typeface="+mj-lt"/>
              <a:buAutoNum type="arabicPeriod"/>
            </a:pPr>
            <a:endParaRPr lang="nl-NL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nl-NL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cussed</a:t>
            </a:r>
            <a:r>
              <a:rPr lang="nl-NL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SS: </a:t>
            </a:r>
            <a:r>
              <a:rPr lang="nl-NL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engthening</a:t>
            </a:r>
            <a:r>
              <a:rPr lang="nl-NL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the </a:t>
            </a: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ilience of people in need and in vulnerable situations</a:t>
            </a:r>
          </a:p>
          <a:p>
            <a:pPr marL="457200" indent="-457200">
              <a:buFont typeface="+mj-lt"/>
              <a:buAutoNum type="arabicPeriod"/>
            </a:pPr>
            <a:endParaRPr lang="en-US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engthening the resilience of our help givers </a:t>
            </a:r>
          </a:p>
          <a:p>
            <a:pPr marL="457200" indent="-457200">
              <a:buFont typeface="+mj-lt"/>
              <a:buAutoNum type="arabicPeriod"/>
            </a:pPr>
            <a:endParaRPr lang="nl-NL" dirty="0"/>
          </a:p>
        </p:txBody>
      </p:sp>
      <p:pic>
        <p:nvPicPr>
          <p:cNvPr id="7" name="Tijdelijke aanduiding voor afbeelding 6" descr="Afbeelding met persoon, buiten, gras, staand&#10;&#10;Automatisch gegenereerde beschrijving">
            <a:extLst>
              <a:ext uri="{FF2B5EF4-FFF2-40B4-BE49-F238E27FC236}">
                <a16:creationId xmlns:a16="http://schemas.microsoft.com/office/drawing/2014/main" id="{C5B857D9-0AA8-4431-8A87-2A40F3A35636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2" name="Tijdelijke aanduiding voor afbeelding 11" descr="Afbeelding met persoon, buiten, staand, vrouw&#10;&#10;Automatisch gegenereerde beschrijving">
            <a:extLst>
              <a:ext uri="{FF2B5EF4-FFF2-40B4-BE49-F238E27FC236}">
                <a16:creationId xmlns:a16="http://schemas.microsoft.com/office/drawing/2014/main" id="{7550CB0B-9AF8-4730-847E-9D71D307D527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6" name="Tijdelijke aanduiding voor afbeelding 15" descr="Afbeelding met persoon, fruit, voedsel, tafel&#10;&#10;Automatisch gegenereerde beschrijving">
            <a:extLst>
              <a:ext uri="{FF2B5EF4-FFF2-40B4-BE49-F238E27FC236}">
                <a16:creationId xmlns:a16="http://schemas.microsoft.com/office/drawing/2014/main" id="{5D15C192-538E-440A-84FE-550C337D01D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1649306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A72B78F-9C92-407B-8C2D-209129DD1F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8800" y="670711"/>
            <a:ext cx="11010899" cy="1008000"/>
          </a:xfrm>
        </p:spPr>
        <p:txBody>
          <a:bodyPr/>
          <a:lstStyle/>
          <a:p>
            <a:pPr algn="ctr"/>
            <a:r>
              <a:rPr lang="nl-NL" dirty="0" err="1">
                <a:solidFill>
                  <a:schemeClr val="accent1"/>
                </a:solidFill>
              </a:rPr>
              <a:t>Pillar</a:t>
            </a:r>
            <a:r>
              <a:rPr lang="nl-NL" dirty="0">
                <a:solidFill>
                  <a:schemeClr val="accent1"/>
                </a:solidFill>
              </a:rPr>
              <a:t> 1 </a:t>
            </a:r>
            <a:br>
              <a:rPr lang="nl-NL" dirty="0"/>
            </a:br>
            <a:r>
              <a:rPr lang="nl-NL" dirty="0"/>
              <a:t>Basic </a:t>
            </a:r>
            <a:r>
              <a:rPr lang="nl-NL" dirty="0" err="1"/>
              <a:t>psychosocial</a:t>
            </a:r>
            <a:r>
              <a:rPr lang="nl-NL" dirty="0"/>
              <a:t> support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people</a:t>
            </a:r>
            <a:r>
              <a:rPr lang="nl-NL" dirty="0"/>
              <a:t> in </a:t>
            </a:r>
            <a:r>
              <a:rPr lang="nl-NL" dirty="0" err="1"/>
              <a:t>emergencies</a:t>
            </a:r>
            <a:endParaRPr lang="nl-NL" dirty="0"/>
          </a:p>
        </p:txBody>
      </p:sp>
      <p:sp>
        <p:nvSpPr>
          <p:cNvPr id="7" name="Ondertitel 6">
            <a:extLst>
              <a:ext uri="{FF2B5EF4-FFF2-40B4-BE49-F238E27FC236}">
                <a16:creationId xmlns:a16="http://schemas.microsoft.com/office/drawing/2014/main" id="{E8CEC1BF-5E72-47DE-8BED-A1D8775067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353056" y="1922506"/>
            <a:ext cx="7485888" cy="6480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C4043"/>
                </a:solidFill>
                <a:effectLst/>
                <a:latin typeface="Roboto" panose="02000000000000000000" pitchFamily="2" charset="0"/>
              </a:rPr>
              <a:t>One of the first to be present in acute emergencies for help (Emergency Aid &amp; Population Care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C4043"/>
                </a:solidFill>
                <a:effectLst/>
                <a:latin typeface="Roboto" panose="02000000000000000000" pitchFamily="2" charset="0"/>
              </a:rPr>
              <a:t>All Red Cross aid workers have basic knowledge of Mental First Aid (first level of the pyramid)</a:t>
            </a:r>
            <a:endParaRPr lang="nl-NL" dirty="0"/>
          </a:p>
        </p:txBody>
      </p:sp>
      <p:pic>
        <p:nvPicPr>
          <p:cNvPr id="8" name="Tijdelijke aanduiding voor afbeelding 7">
            <a:extLst>
              <a:ext uri="{FF2B5EF4-FFF2-40B4-BE49-F238E27FC236}">
                <a16:creationId xmlns:a16="http://schemas.microsoft.com/office/drawing/2014/main" id="{C09048FF-847B-471F-A84F-3BFA02109A8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488"/>
          <a:stretch/>
        </p:blipFill>
        <p:spPr>
          <a:xfrm>
            <a:off x="4117823" y="3888419"/>
            <a:ext cx="4076285" cy="2969581"/>
          </a:xfrm>
        </p:spPr>
      </p:pic>
      <p:pic>
        <p:nvPicPr>
          <p:cNvPr id="13" name="Tijdelijke aanduiding voor afbeelding 12">
            <a:extLst>
              <a:ext uri="{FF2B5EF4-FFF2-40B4-BE49-F238E27FC236}">
                <a16:creationId xmlns:a16="http://schemas.microsoft.com/office/drawing/2014/main" id="{2675B44A-E7CF-4062-9B76-5229FB6EE06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21" r="6508"/>
          <a:stretch/>
        </p:blipFill>
        <p:spPr>
          <a:xfrm>
            <a:off x="8424909" y="3888419"/>
            <a:ext cx="3767091" cy="2969581"/>
          </a:xfrm>
        </p:spPr>
      </p:pic>
    </p:spTree>
    <p:extLst>
      <p:ext uri="{BB962C8B-B14F-4D97-AF65-F5344CB8AC3E}">
        <p14:creationId xmlns:p14="http://schemas.microsoft.com/office/powerpoint/2010/main" val="5802784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B8C86DF7-3320-ECBD-EACD-3DA6C87C60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943099"/>
            <a:ext cx="11233150" cy="3573463"/>
          </a:xfrm>
        </p:spPr>
        <p:txBody>
          <a:bodyPr>
            <a:normAutofit/>
          </a:bodyPr>
          <a:lstStyle/>
          <a:p>
            <a:r>
              <a:rPr lang="en-US" sz="2000" b="0" i="0" dirty="0">
                <a:solidFill>
                  <a:srgbClr val="3C4043"/>
                </a:solidFill>
                <a:effectLst/>
                <a:latin typeface="Roboto" panose="02000000000000000000" pitchFamily="2" charset="0"/>
              </a:rPr>
              <a:t>Ensuring basic PSS in all NLRC interventions (tailor made, since 2019)</a:t>
            </a:r>
          </a:p>
          <a:p>
            <a:r>
              <a:rPr lang="en-US" sz="2000" dirty="0">
                <a:solidFill>
                  <a:srgbClr val="3C4043"/>
                </a:solidFill>
                <a:latin typeface="Roboto" panose="02000000000000000000" pitchFamily="2" charset="0"/>
              </a:rPr>
              <a:t>E-module PSS (30 min) – for all NLRC 13.000 volunteers &amp; 600 staff, since 2021)</a:t>
            </a:r>
          </a:p>
          <a:p>
            <a:r>
              <a:rPr lang="en-US" sz="2000" dirty="0">
                <a:solidFill>
                  <a:srgbClr val="3C4043"/>
                </a:solidFill>
                <a:latin typeface="Roboto" panose="02000000000000000000" pitchFamily="2" charset="0"/>
              </a:rPr>
              <a:t>Podcasts PSS by and for students: two series of episodes with PSS topics (since 2021)</a:t>
            </a:r>
            <a:endParaRPr lang="en-US" sz="2000" b="0" i="0" dirty="0">
              <a:solidFill>
                <a:srgbClr val="3C4043"/>
              </a:solidFill>
              <a:effectLst/>
              <a:latin typeface="Roboto" panose="02000000000000000000" pitchFamily="2" charset="0"/>
            </a:endParaRPr>
          </a:p>
          <a:p>
            <a:r>
              <a:rPr lang="en-US" sz="2000" dirty="0">
                <a:solidFill>
                  <a:srgbClr val="3C4043"/>
                </a:solidFill>
                <a:latin typeface="Roboto" panose="02000000000000000000" pitchFamily="2" charset="0"/>
              </a:rPr>
              <a:t>Podcasts PSS for staff &amp; volunteers: three episodes (since 2023) </a:t>
            </a:r>
          </a:p>
          <a:p>
            <a:r>
              <a:rPr lang="en-US" sz="2000" b="0" i="0" dirty="0">
                <a:solidFill>
                  <a:srgbClr val="3C4043"/>
                </a:solidFill>
                <a:effectLst/>
                <a:latin typeface="Roboto" panose="02000000000000000000" pitchFamily="2" charset="0"/>
              </a:rPr>
              <a:t>Microlearning for staff &amp; volunteers: Self-care and Resilience &amp; Resilience (since 2023)</a:t>
            </a:r>
            <a:endParaRPr lang="nl-NL" sz="200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3986D256-A772-0161-0999-B5C9E9EE2F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78571"/>
            <a:ext cx="11233150" cy="830444"/>
          </a:xfrm>
        </p:spPr>
        <p:txBody>
          <a:bodyPr/>
          <a:lstStyle/>
          <a:p>
            <a:pPr algn="ctr"/>
            <a:r>
              <a:rPr lang="nl-NL" sz="3200" dirty="0" err="1">
                <a:solidFill>
                  <a:schemeClr val="accent1"/>
                </a:solidFill>
              </a:rPr>
              <a:t>Pillar</a:t>
            </a:r>
            <a:r>
              <a:rPr lang="nl-NL" sz="3200" dirty="0">
                <a:solidFill>
                  <a:schemeClr val="accent1"/>
                </a:solidFill>
              </a:rPr>
              <a:t> 1 </a:t>
            </a:r>
            <a:br>
              <a:rPr lang="nl-NL" sz="3200" dirty="0"/>
            </a:br>
            <a:r>
              <a:rPr lang="nl-NL" sz="3200" dirty="0"/>
              <a:t>Basic </a:t>
            </a:r>
            <a:r>
              <a:rPr lang="nl-NL" sz="3200" dirty="0" err="1"/>
              <a:t>psychosocial</a:t>
            </a:r>
            <a:r>
              <a:rPr lang="nl-NL" sz="3200" dirty="0"/>
              <a:t> support </a:t>
            </a:r>
            <a:r>
              <a:rPr lang="nl-NL" sz="3200" dirty="0" err="1"/>
              <a:t>for</a:t>
            </a:r>
            <a:r>
              <a:rPr lang="nl-NL" sz="3200" dirty="0"/>
              <a:t> </a:t>
            </a:r>
            <a:r>
              <a:rPr lang="nl-NL" sz="3200" dirty="0" err="1"/>
              <a:t>people</a:t>
            </a:r>
            <a:r>
              <a:rPr lang="nl-NL" sz="3200" dirty="0"/>
              <a:t> in </a:t>
            </a:r>
            <a:r>
              <a:rPr lang="nl-NL" sz="3200" dirty="0" err="1"/>
              <a:t>emergencies</a:t>
            </a:r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FC6AECD9-9026-D670-9470-0B47097EB7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3FC5B-98A5-49E4-B59C-E073B8952154}" type="slidenum">
              <a:rPr lang="nl-NL" smtClean="0"/>
              <a:pPr/>
              <a:t>13</a:t>
            </a:fld>
            <a:endParaRPr lang="nl-NL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23722C15-A4B4-993E-D7F4-368D380656F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661"/>
          <a:stretch/>
        </p:blipFill>
        <p:spPr>
          <a:xfrm>
            <a:off x="0" y="4234543"/>
            <a:ext cx="12192000" cy="2025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1790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B6701655-1464-4085-9B5E-CD24056558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765299"/>
            <a:ext cx="11233150" cy="37512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="0" i="0" dirty="0">
                <a:solidFill>
                  <a:srgbClr val="3C4043"/>
                </a:solidFill>
                <a:effectLst/>
                <a:latin typeface="Roboto" panose="02000000000000000000" pitchFamily="2" charset="0"/>
              </a:rPr>
              <a:t>Physical &amp; practical PSS trainings for volunteers and staff working:</a:t>
            </a:r>
          </a:p>
          <a:p>
            <a:r>
              <a:rPr lang="en-US" sz="2000" b="0" i="0" dirty="0">
                <a:solidFill>
                  <a:srgbClr val="3C4043"/>
                </a:solidFill>
                <a:effectLst/>
                <a:latin typeface="Roboto" panose="02000000000000000000" pitchFamily="2" charset="0"/>
              </a:rPr>
              <a:t>With victims of human </a:t>
            </a:r>
            <a:r>
              <a:rPr lang="en-US" sz="2000" dirty="0">
                <a:solidFill>
                  <a:srgbClr val="3C4043"/>
                </a:solidFill>
                <a:latin typeface="Roboto" panose="02000000000000000000" pitchFamily="2" charset="0"/>
              </a:rPr>
              <a:t>t</a:t>
            </a:r>
            <a:r>
              <a:rPr lang="en-US" sz="2000" b="0" i="0" dirty="0">
                <a:solidFill>
                  <a:srgbClr val="3C4043"/>
                </a:solidFill>
                <a:effectLst/>
                <a:latin typeface="Roboto" panose="02000000000000000000" pitchFamily="2" charset="0"/>
              </a:rPr>
              <a:t>rafficking </a:t>
            </a:r>
          </a:p>
          <a:p>
            <a:r>
              <a:rPr lang="en-US" sz="2000" b="0" i="0" dirty="0">
                <a:solidFill>
                  <a:srgbClr val="3C4043"/>
                </a:solidFill>
                <a:effectLst/>
                <a:latin typeface="Roboto" panose="02000000000000000000" pitchFamily="2" charset="0"/>
              </a:rPr>
              <a:t>With </a:t>
            </a:r>
            <a:r>
              <a:rPr lang="en-US" sz="2000" dirty="0">
                <a:solidFill>
                  <a:srgbClr val="3C4043"/>
                </a:solidFill>
                <a:latin typeface="Roboto" panose="02000000000000000000" pitchFamily="2" charset="0"/>
              </a:rPr>
              <a:t>u</a:t>
            </a:r>
            <a:r>
              <a:rPr lang="en-US" sz="2000" b="0" i="0" dirty="0">
                <a:solidFill>
                  <a:srgbClr val="3C4043"/>
                </a:solidFill>
                <a:effectLst/>
                <a:latin typeface="Roboto" panose="02000000000000000000" pitchFamily="2" charset="0"/>
              </a:rPr>
              <a:t>ndocumented migrants </a:t>
            </a:r>
          </a:p>
          <a:p>
            <a:r>
              <a:rPr lang="en-US" sz="2000" b="0" i="0" dirty="0">
                <a:solidFill>
                  <a:srgbClr val="3C4043"/>
                </a:solidFill>
                <a:effectLst/>
                <a:latin typeface="Roboto" panose="02000000000000000000" pitchFamily="2" charset="0"/>
              </a:rPr>
              <a:t>With asylum seekers and Ukraine displaced person at reception locations</a:t>
            </a:r>
          </a:p>
          <a:p>
            <a:r>
              <a:rPr lang="en-US" sz="2000" dirty="0">
                <a:solidFill>
                  <a:srgbClr val="3C4043"/>
                </a:solidFill>
                <a:latin typeface="Roboto" panose="02000000000000000000" pitchFamily="2" charset="0"/>
              </a:rPr>
              <a:t>At h</a:t>
            </a:r>
            <a:r>
              <a:rPr lang="en-US" sz="2000" b="0" i="0" dirty="0">
                <a:solidFill>
                  <a:srgbClr val="3C4043"/>
                </a:solidFill>
                <a:effectLst/>
                <a:latin typeface="Roboto" panose="02000000000000000000" pitchFamily="2" charset="0"/>
              </a:rPr>
              <a:t>elplines (including phone lines, WhatsApp helplines and website)</a:t>
            </a:r>
          </a:p>
          <a:p>
            <a:r>
              <a:rPr lang="en-US" sz="2000" b="0" i="0" dirty="0">
                <a:solidFill>
                  <a:srgbClr val="3C4043"/>
                </a:solidFill>
                <a:effectLst/>
                <a:latin typeface="Roboto" panose="02000000000000000000" pitchFamily="2" charset="0"/>
              </a:rPr>
              <a:t>At NLRC voluntary support desks </a:t>
            </a:r>
          </a:p>
          <a:p>
            <a:r>
              <a:rPr lang="en-US" sz="2000" dirty="0">
                <a:solidFill>
                  <a:srgbClr val="3C4043"/>
                </a:solidFill>
                <a:latin typeface="Roboto" panose="02000000000000000000" pitchFamily="2" charset="0"/>
              </a:rPr>
              <a:t>As f</a:t>
            </a:r>
            <a:r>
              <a:rPr lang="en-US" sz="2000" b="0" i="0" dirty="0">
                <a:solidFill>
                  <a:srgbClr val="3C4043"/>
                </a:solidFill>
                <a:effectLst/>
                <a:latin typeface="Roboto" panose="02000000000000000000" pitchFamily="2" charset="0"/>
              </a:rPr>
              <a:t>irst aid trainers </a:t>
            </a:r>
          </a:p>
          <a:p>
            <a:r>
              <a:rPr lang="en-US" sz="2000" dirty="0">
                <a:solidFill>
                  <a:srgbClr val="3C4043"/>
                </a:solidFill>
                <a:latin typeface="Roboto" panose="02000000000000000000" pitchFamily="2" charset="0"/>
              </a:rPr>
              <a:t>As t</a:t>
            </a:r>
            <a:r>
              <a:rPr lang="en-US" sz="2000" b="0" i="0" dirty="0">
                <a:solidFill>
                  <a:srgbClr val="3C4043"/>
                </a:solidFill>
                <a:effectLst/>
                <a:latin typeface="Roboto" panose="02000000000000000000" pitchFamily="2" charset="0"/>
              </a:rPr>
              <a:t>eam leaders in districts</a:t>
            </a:r>
            <a:endParaRPr lang="nl-NL" sz="200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C8DB4B1-6D24-5B4F-F7C7-D03565EDD6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5293"/>
            <a:ext cx="11233150" cy="830444"/>
          </a:xfrm>
        </p:spPr>
        <p:txBody>
          <a:bodyPr/>
          <a:lstStyle/>
          <a:p>
            <a:pPr algn="ctr"/>
            <a:r>
              <a:rPr lang="nl-NL" sz="3200" dirty="0" err="1">
                <a:solidFill>
                  <a:schemeClr val="accent1"/>
                </a:solidFill>
              </a:rPr>
              <a:t>Pillar</a:t>
            </a:r>
            <a:r>
              <a:rPr lang="nl-NL" sz="3200" dirty="0">
                <a:solidFill>
                  <a:schemeClr val="accent1"/>
                </a:solidFill>
              </a:rPr>
              <a:t> 1 </a:t>
            </a:r>
            <a:br>
              <a:rPr lang="nl-NL" sz="3200" dirty="0"/>
            </a:br>
            <a:r>
              <a:rPr lang="nl-NL" sz="3200" dirty="0"/>
              <a:t>Basic Psychosocial Support </a:t>
            </a:r>
            <a:r>
              <a:rPr lang="nl-NL" sz="3200" dirty="0" err="1"/>
              <a:t>for</a:t>
            </a:r>
            <a:r>
              <a:rPr lang="nl-NL" sz="3200" dirty="0"/>
              <a:t> </a:t>
            </a:r>
            <a:r>
              <a:rPr lang="nl-NL" sz="3200" dirty="0" err="1"/>
              <a:t>people</a:t>
            </a:r>
            <a:r>
              <a:rPr lang="nl-NL" sz="3200" dirty="0"/>
              <a:t> in </a:t>
            </a:r>
            <a:r>
              <a:rPr lang="nl-NL" sz="3200" dirty="0" err="1"/>
              <a:t>emergencies</a:t>
            </a:r>
            <a:endParaRPr lang="nl-NL" sz="3200" dirty="0">
              <a:solidFill>
                <a:schemeClr val="accent1"/>
              </a:solidFill>
            </a:endParaRP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A182C8E-6C98-881F-2196-5054825F0F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3FC5B-98A5-49E4-B59C-E073B8952154}" type="slidenum">
              <a:rPr lang="nl-NL" smtClean="0"/>
              <a:pPr/>
              <a:t>1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092625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43C7C578-650A-24DB-7BB1-1B57304882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5171" y="855538"/>
            <a:ext cx="11081658" cy="1008000"/>
          </a:xfrm>
        </p:spPr>
        <p:txBody>
          <a:bodyPr anchor="b">
            <a:noAutofit/>
          </a:bodyPr>
          <a:lstStyle/>
          <a:p>
            <a:pPr algn="ctr"/>
            <a:r>
              <a:rPr lang="nl-NL" dirty="0" err="1">
                <a:solidFill>
                  <a:schemeClr val="accent1"/>
                </a:solidFill>
              </a:rPr>
              <a:t>Pillar</a:t>
            </a:r>
            <a:r>
              <a:rPr lang="nl-NL" dirty="0">
                <a:solidFill>
                  <a:schemeClr val="accent1"/>
                </a:solidFill>
              </a:rPr>
              <a:t> 2</a:t>
            </a:r>
            <a:br>
              <a:rPr lang="nl-NL" dirty="0"/>
            </a:br>
            <a:r>
              <a:rPr lang="nl-NL" dirty="0" err="1"/>
              <a:t>Focussed</a:t>
            </a:r>
            <a:r>
              <a:rPr lang="nl-NL" dirty="0"/>
              <a:t> PSS: </a:t>
            </a:r>
            <a:r>
              <a:rPr lang="nl-NL" dirty="0" err="1"/>
              <a:t>Strengthening</a:t>
            </a:r>
            <a:r>
              <a:rPr lang="nl-NL" dirty="0"/>
              <a:t> the </a:t>
            </a:r>
            <a:r>
              <a:rPr lang="nl-NL" dirty="0" err="1"/>
              <a:t>resilience</a:t>
            </a:r>
            <a:r>
              <a:rPr lang="nl-NL" dirty="0"/>
              <a:t> of </a:t>
            </a:r>
            <a:r>
              <a:rPr lang="nl-NL" dirty="0" err="1"/>
              <a:t>people</a:t>
            </a:r>
            <a:r>
              <a:rPr lang="nl-NL" dirty="0"/>
              <a:t> in </a:t>
            </a:r>
            <a:r>
              <a:rPr lang="nl-NL" dirty="0" err="1"/>
              <a:t>need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in </a:t>
            </a:r>
            <a:r>
              <a:rPr lang="nl-NL" dirty="0" err="1"/>
              <a:t>vulnerable</a:t>
            </a:r>
            <a:r>
              <a:rPr lang="nl-NL" dirty="0"/>
              <a:t> </a:t>
            </a:r>
            <a:r>
              <a:rPr lang="nl-NL" dirty="0" err="1"/>
              <a:t>stuations</a:t>
            </a:r>
            <a:endParaRPr lang="nl-NL" dirty="0"/>
          </a:p>
        </p:txBody>
      </p:sp>
      <p:sp>
        <p:nvSpPr>
          <p:cNvPr id="7" name="Ondertitel 6">
            <a:extLst>
              <a:ext uri="{FF2B5EF4-FFF2-40B4-BE49-F238E27FC236}">
                <a16:creationId xmlns:a16="http://schemas.microsoft.com/office/drawing/2014/main" id="{E8CEC1BF-5E72-47DE-8BED-A1D8775067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5171" y="1863538"/>
            <a:ext cx="11462658" cy="807785"/>
          </a:xfrm>
        </p:spPr>
        <p:txBody>
          <a:bodyPr vert="horz" lIns="36000" tIns="36000" rIns="36000" bIns="3600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sz="1900" b="0" i="0" dirty="0">
                <a:solidFill>
                  <a:srgbClr val="3C4043"/>
                </a:solidFill>
                <a:effectLst/>
                <a:latin typeface="Roboto" panose="02000000000000000000" pitchFamily="2" charset="0"/>
              </a:rPr>
              <a:t>Assistance by PSS-trained volunteers for specific vulnerable groups, Targeted Psychosocial Support (second level of the pyramid) by: </a:t>
            </a:r>
          </a:p>
          <a:p>
            <a:pPr>
              <a:spcAft>
                <a:spcPts val="600"/>
              </a:spcAft>
            </a:pPr>
            <a:r>
              <a:rPr lang="en-US" sz="1900" b="0" i="0" dirty="0">
                <a:solidFill>
                  <a:srgbClr val="3C4043"/>
                </a:solidFill>
                <a:effectLst/>
                <a:latin typeface="Roboto" panose="02000000000000000000" pitchFamily="2" charset="0"/>
              </a:rPr>
              <a:t>2.1 Psychological First Aid for asylum seekers, displaced persons </a:t>
            </a:r>
          </a:p>
          <a:p>
            <a:pPr>
              <a:spcAft>
                <a:spcPts val="600"/>
              </a:spcAft>
            </a:pPr>
            <a:r>
              <a:rPr lang="en-US" sz="1900" dirty="0">
                <a:solidFill>
                  <a:srgbClr val="3C4043"/>
                </a:solidFill>
                <a:latin typeface="Roboto" panose="02000000000000000000" pitchFamily="2" charset="0"/>
              </a:rPr>
              <a:t>2.2 Life Skills workshops for </a:t>
            </a:r>
            <a:r>
              <a:rPr lang="en-US" sz="1900" b="0" i="0" dirty="0">
                <a:solidFill>
                  <a:srgbClr val="3C4043"/>
                </a:solidFill>
                <a:effectLst/>
                <a:latin typeface="Roboto" panose="02000000000000000000" pitchFamily="2" charset="0"/>
              </a:rPr>
              <a:t>undocumented migrants, victims of human trafficking, asylum seekers</a:t>
            </a:r>
          </a:p>
          <a:p>
            <a:pPr>
              <a:spcAft>
                <a:spcPts val="600"/>
              </a:spcAft>
            </a:pPr>
            <a:r>
              <a:rPr lang="en-US" sz="1900" b="0" i="0" dirty="0">
                <a:solidFill>
                  <a:srgbClr val="3C4043"/>
                </a:solidFill>
                <a:effectLst/>
                <a:latin typeface="Roboto" panose="02000000000000000000" pitchFamily="2" charset="0"/>
              </a:rPr>
              <a:t>2.3 Psychosocial Support ‘On Track’ in reception locations</a:t>
            </a:r>
          </a:p>
          <a:p>
            <a:pPr>
              <a:spcAft>
                <a:spcPts val="600"/>
              </a:spcAft>
            </a:pPr>
            <a:r>
              <a:rPr lang="en-US" sz="1900" b="0" i="0" dirty="0">
                <a:solidFill>
                  <a:srgbClr val="3C4043"/>
                </a:solidFill>
                <a:effectLst/>
                <a:latin typeface="Roboto" panose="02000000000000000000" pitchFamily="2" charset="0"/>
              </a:rPr>
              <a:t>2.4 Psychosocial Support ‘Look after another’ network for all persons in the Netherland</a:t>
            </a:r>
            <a:endParaRPr lang="nl-NL" sz="1900" dirty="0"/>
          </a:p>
        </p:txBody>
      </p:sp>
      <p:pic>
        <p:nvPicPr>
          <p:cNvPr id="14" name="Tijdelijke aanduiding voor afbeelding 13">
            <a:extLst>
              <a:ext uri="{FF2B5EF4-FFF2-40B4-BE49-F238E27FC236}">
                <a16:creationId xmlns:a16="http://schemas.microsoft.com/office/drawing/2014/main" id="{7906EA02-1F4B-E6D2-83BB-6C2E91A8057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26" r="6226"/>
          <a:stretch/>
        </p:blipFill>
        <p:spPr>
          <a:xfrm>
            <a:off x="4151516" y="3897313"/>
            <a:ext cx="3888000" cy="2960687"/>
          </a:xfrm>
          <a:noFill/>
        </p:spPr>
      </p:pic>
      <p:pic>
        <p:nvPicPr>
          <p:cNvPr id="18" name="Afbeelding 17">
            <a:extLst>
              <a:ext uri="{FF2B5EF4-FFF2-40B4-BE49-F238E27FC236}">
                <a16:creationId xmlns:a16="http://schemas.microsoft.com/office/drawing/2014/main" id="{5FDF43DA-1E62-610A-7344-92A0476788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14" r="6214"/>
          <a:stretch/>
        </p:blipFill>
        <p:spPr>
          <a:xfrm>
            <a:off x="8304000" y="3897313"/>
            <a:ext cx="3888000" cy="295983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432034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3">
            <a:extLst>
              <a:ext uri="{FF2B5EF4-FFF2-40B4-BE49-F238E27FC236}">
                <a16:creationId xmlns:a16="http://schemas.microsoft.com/office/drawing/2014/main" id="{BB4F6E2C-C147-7395-B311-68D450356051}"/>
              </a:ext>
            </a:extLst>
          </p:cNvPr>
          <p:cNvSpPr txBox="1">
            <a:spLocks/>
          </p:cNvSpPr>
          <p:nvPr/>
        </p:nvSpPr>
        <p:spPr>
          <a:xfrm>
            <a:off x="991173" y="642967"/>
            <a:ext cx="6977169" cy="1008000"/>
          </a:xfrm>
          <a:prstGeom prst="rect">
            <a:avLst/>
          </a:prstGeom>
        </p:spPr>
        <p:txBody>
          <a:bodyPr vert="horz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spc="6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3200" dirty="0">
                <a:solidFill>
                  <a:schemeClr val="accent1"/>
                </a:solidFill>
              </a:rPr>
              <a:t>2.1 </a:t>
            </a:r>
            <a:r>
              <a:rPr lang="nl-NL" sz="3200" dirty="0" err="1">
                <a:solidFill>
                  <a:schemeClr val="accent1"/>
                </a:solidFill>
              </a:rPr>
              <a:t>Focussed</a:t>
            </a:r>
            <a:r>
              <a:rPr lang="nl-NL" sz="3200" dirty="0">
                <a:solidFill>
                  <a:schemeClr val="accent1"/>
                </a:solidFill>
              </a:rPr>
              <a:t> PSS: PFA in </a:t>
            </a:r>
            <a:r>
              <a:rPr lang="nl-NL" sz="3200" dirty="0" err="1">
                <a:solidFill>
                  <a:schemeClr val="accent1"/>
                </a:solidFill>
              </a:rPr>
              <a:t>reception</a:t>
            </a:r>
            <a:r>
              <a:rPr lang="nl-NL" sz="3200" dirty="0">
                <a:solidFill>
                  <a:schemeClr val="accent1"/>
                </a:solidFill>
              </a:rPr>
              <a:t> </a:t>
            </a:r>
            <a:r>
              <a:rPr lang="nl-NL" sz="3200" dirty="0" err="1">
                <a:solidFill>
                  <a:schemeClr val="accent1"/>
                </a:solidFill>
              </a:rPr>
              <a:t>locations</a:t>
            </a:r>
            <a:r>
              <a:rPr lang="nl-NL" sz="3200" dirty="0">
                <a:solidFill>
                  <a:schemeClr val="accent1"/>
                </a:solidFill>
              </a:rPr>
              <a:t> </a:t>
            </a:r>
            <a:r>
              <a:rPr lang="nl-NL" sz="3200" dirty="0" err="1">
                <a:solidFill>
                  <a:schemeClr val="accent1"/>
                </a:solidFill>
              </a:rPr>
              <a:t>for</a:t>
            </a:r>
            <a:r>
              <a:rPr lang="nl-NL" sz="3200" dirty="0">
                <a:solidFill>
                  <a:schemeClr val="accent1"/>
                </a:solidFill>
              </a:rPr>
              <a:t> </a:t>
            </a:r>
            <a:r>
              <a:rPr lang="nl-NL" sz="3200" dirty="0" err="1">
                <a:solidFill>
                  <a:schemeClr val="accent1"/>
                </a:solidFill>
              </a:rPr>
              <a:t>asylum</a:t>
            </a:r>
            <a:r>
              <a:rPr lang="nl-NL" sz="3200" dirty="0">
                <a:solidFill>
                  <a:schemeClr val="accent1"/>
                </a:solidFill>
              </a:rPr>
              <a:t> </a:t>
            </a:r>
            <a:r>
              <a:rPr lang="nl-NL" sz="3200" dirty="0" err="1">
                <a:solidFill>
                  <a:schemeClr val="accent1"/>
                </a:solidFill>
              </a:rPr>
              <a:t>seekers</a:t>
            </a:r>
            <a:r>
              <a:rPr lang="nl-NL" sz="3200" dirty="0">
                <a:solidFill>
                  <a:schemeClr val="accent1"/>
                </a:solidFill>
              </a:rPr>
              <a:t> </a:t>
            </a:r>
            <a:r>
              <a:rPr lang="nl-NL" sz="3200" dirty="0" err="1">
                <a:solidFill>
                  <a:schemeClr val="accent1"/>
                </a:solidFill>
              </a:rPr>
              <a:t>and</a:t>
            </a:r>
            <a:r>
              <a:rPr lang="nl-NL" sz="3200" dirty="0">
                <a:solidFill>
                  <a:schemeClr val="accent1"/>
                </a:solidFill>
              </a:rPr>
              <a:t> </a:t>
            </a:r>
            <a:r>
              <a:rPr lang="nl-NL" sz="3200" dirty="0" err="1">
                <a:solidFill>
                  <a:schemeClr val="accent1"/>
                </a:solidFill>
              </a:rPr>
              <a:t>Ukrain</a:t>
            </a:r>
            <a:r>
              <a:rPr lang="nl-NL" sz="3200" dirty="0">
                <a:solidFill>
                  <a:schemeClr val="accent1"/>
                </a:solidFill>
              </a:rPr>
              <a:t> displaced </a:t>
            </a:r>
            <a:r>
              <a:rPr lang="nl-NL" sz="3200" dirty="0" err="1">
                <a:solidFill>
                  <a:schemeClr val="accent1"/>
                </a:solidFill>
              </a:rPr>
              <a:t>people</a:t>
            </a:r>
            <a:endParaRPr lang="nl-NL" sz="3200" dirty="0">
              <a:solidFill>
                <a:schemeClr val="accent1"/>
              </a:solidFill>
            </a:endParaRPr>
          </a:p>
        </p:txBody>
      </p:sp>
      <p:sp>
        <p:nvSpPr>
          <p:cNvPr id="2" name="Ondertitel 4">
            <a:extLst>
              <a:ext uri="{FF2B5EF4-FFF2-40B4-BE49-F238E27FC236}">
                <a16:creationId xmlns:a16="http://schemas.microsoft.com/office/drawing/2014/main" id="{08B64589-52A9-5100-7CE1-EADCEDE6314D}"/>
              </a:ext>
            </a:extLst>
          </p:cNvPr>
          <p:cNvSpPr txBox="1">
            <a:spLocks/>
          </p:cNvSpPr>
          <p:nvPr/>
        </p:nvSpPr>
        <p:spPr>
          <a:xfrm>
            <a:off x="991174" y="2204776"/>
            <a:ext cx="6835965" cy="3299185"/>
          </a:xfrm>
          <a:prstGeom prst="rect">
            <a:avLst/>
          </a:prstGeom>
        </p:spPr>
        <p:txBody>
          <a:bodyPr/>
          <a:lstStyle>
            <a:lvl1pPr marL="288000" indent="-288000" algn="l" defTabSz="2880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00" indent="-288000" algn="l" defTabSz="288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00" indent="-288000" algn="l" defTabSz="288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2000" indent="-288000" algn="l" defTabSz="288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00" indent="-288000" algn="l" defTabSz="288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2000" dirty="0" err="1"/>
              <a:t>What</a:t>
            </a:r>
            <a:r>
              <a:rPr lang="nl-NL" sz="2000" dirty="0"/>
              <a:t>: PFA in </a:t>
            </a:r>
            <a:r>
              <a:rPr lang="nl-NL" sz="2000" dirty="0" err="1"/>
              <a:t>one</a:t>
            </a:r>
            <a:r>
              <a:rPr lang="nl-NL" sz="2000" dirty="0"/>
              <a:t>-to-</a:t>
            </a:r>
            <a:r>
              <a:rPr lang="nl-NL" sz="2000" dirty="0" err="1"/>
              <a:t>one</a:t>
            </a:r>
            <a:r>
              <a:rPr lang="nl-NL" sz="2000" dirty="0"/>
              <a:t> or max 4 persons</a:t>
            </a:r>
          </a:p>
          <a:p>
            <a:r>
              <a:rPr lang="nl-NL" sz="2000" dirty="0" err="1"/>
              <a:t>Who</a:t>
            </a:r>
            <a:r>
              <a:rPr lang="nl-NL" sz="2000" dirty="0"/>
              <a:t>: 40 </a:t>
            </a:r>
            <a:r>
              <a:rPr lang="nl-NL" sz="2000" dirty="0" err="1"/>
              <a:t>trained</a:t>
            </a:r>
            <a:r>
              <a:rPr lang="nl-NL" sz="2000" dirty="0"/>
              <a:t> </a:t>
            </a:r>
            <a:r>
              <a:rPr lang="nl-NL" sz="2000" dirty="0" err="1"/>
              <a:t>volunteers</a:t>
            </a:r>
            <a:r>
              <a:rPr lang="nl-NL" sz="2000" dirty="0"/>
              <a:t> </a:t>
            </a:r>
            <a:r>
              <a:rPr lang="nl-NL" sz="2000" dirty="0" err="1"/>
              <a:t>and</a:t>
            </a:r>
            <a:r>
              <a:rPr lang="nl-NL" sz="2000" dirty="0"/>
              <a:t> 60 </a:t>
            </a:r>
            <a:r>
              <a:rPr lang="nl-NL" sz="2000" dirty="0" err="1"/>
              <a:t>trained</a:t>
            </a:r>
            <a:r>
              <a:rPr lang="nl-NL" sz="2000" dirty="0"/>
              <a:t> </a:t>
            </a:r>
            <a:r>
              <a:rPr lang="nl-NL" sz="2000" dirty="0" err="1"/>
              <a:t>temporary</a:t>
            </a:r>
            <a:r>
              <a:rPr lang="nl-NL" sz="2000" dirty="0"/>
              <a:t> </a:t>
            </a:r>
            <a:r>
              <a:rPr lang="nl-NL" sz="2000" dirty="0" err="1"/>
              <a:t>workers</a:t>
            </a:r>
            <a:endParaRPr lang="nl-NL" sz="2000" dirty="0"/>
          </a:p>
          <a:p>
            <a:r>
              <a:rPr lang="nl-NL" sz="2000" dirty="0" err="1"/>
              <a:t>Where</a:t>
            </a:r>
            <a:r>
              <a:rPr lang="nl-NL" sz="2000" dirty="0"/>
              <a:t>: Active in 30 </a:t>
            </a:r>
            <a:r>
              <a:rPr lang="nl-NL" sz="2000" dirty="0" err="1"/>
              <a:t>reception</a:t>
            </a:r>
            <a:r>
              <a:rPr lang="nl-NL" sz="2000" dirty="0"/>
              <a:t> </a:t>
            </a:r>
            <a:r>
              <a:rPr lang="nl-NL" sz="2000" dirty="0" err="1"/>
              <a:t>locations</a:t>
            </a:r>
            <a:r>
              <a:rPr lang="nl-NL" sz="2000" dirty="0"/>
              <a:t> of the NLRC</a:t>
            </a:r>
          </a:p>
          <a:p>
            <a:r>
              <a:rPr lang="nl-NL" sz="2000" dirty="0" err="1"/>
              <a:t>Methodology</a:t>
            </a:r>
            <a:r>
              <a:rPr lang="nl-NL" sz="2000" dirty="0"/>
              <a:t>: PFA </a:t>
            </a:r>
            <a:r>
              <a:rPr lang="nl-NL" sz="2000" dirty="0" err="1"/>
              <a:t>developed</a:t>
            </a:r>
            <a:r>
              <a:rPr lang="nl-NL" sz="2000" dirty="0"/>
              <a:t> </a:t>
            </a:r>
            <a:r>
              <a:rPr lang="nl-NL" sz="2000" dirty="0" err="1"/>
              <a:t>by</a:t>
            </a:r>
            <a:r>
              <a:rPr lang="nl-NL" sz="2000" dirty="0"/>
              <a:t> IFRC PS Center: Look, Listen, Link &amp; (cross-</a:t>
            </a:r>
            <a:r>
              <a:rPr lang="nl-NL" sz="2000" dirty="0" err="1"/>
              <a:t>cutting</a:t>
            </a:r>
            <a:r>
              <a:rPr lang="nl-NL" sz="2000" dirty="0"/>
              <a:t>) </a:t>
            </a:r>
            <a:r>
              <a:rPr lang="nl-NL" sz="2000" dirty="0" err="1"/>
              <a:t>Strengthen</a:t>
            </a:r>
            <a:r>
              <a:rPr lang="nl-NL" sz="2000" dirty="0"/>
              <a:t> </a:t>
            </a:r>
            <a:r>
              <a:rPr lang="nl-NL" sz="2000" dirty="0" err="1"/>
              <a:t>Resilience</a:t>
            </a:r>
            <a:endParaRPr lang="nl-NL" sz="2000" dirty="0"/>
          </a:p>
          <a:p>
            <a:r>
              <a:rPr lang="nl-NL" sz="2000" dirty="0"/>
              <a:t>Recent pilot: training </a:t>
            </a:r>
            <a:r>
              <a:rPr lang="nl-NL" sz="2000" dirty="0" err="1"/>
              <a:t>colleagues</a:t>
            </a:r>
            <a:r>
              <a:rPr lang="nl-NL" sz="2000" dirty="0"/>
              <a:t> of the </a:t>
            </a:r>
            <a:r>
              <a:rPr lang="nl-NL" sz="2000" dirty="0" err="1"/>
              <a:t>municipalities</a:t>
            </a:r>
            <a:r>
              <a:rPr lang="nl-NL" sz="2000" dirty="0"/>
              <a:t> in PFA in </a:t>
            </a:r>
            <a:r>
              <a:rPr lang="nl-NL" sz="2000" dirty="0" err="1"/>
              <a:t>Reception</a:t>
            </a:r>
            <a:r>
              <a:rPr lang="nl-NL" sz="2000" dirty="0"/>
              <a:t> Shelters</a:t>
            </a: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A03AF1DA-D38F-C27C-7C86-06C087FB2F72}"/>
              </a:ext>
            </a:extLst>
          </p:cNvPr>
          <p:cNvGrpSpPr/>
          <p:nvPr/>
        </p:nvGrpSpPr>
        <p:grpSpPr>
          <a:xfrm>
            <a:off x="7523749" y="758744"/>
            <a:ext cx="4347503" cy="4039498"/>
            <a:chOff x="7523749" y="758744"/>
            <a:chExt cx="4347503" cy="4039498"/>
          </a:xfrm>
        </p:grpSpPr>
        <p:pic>
          <p:nvPicPr>
            <p:cNvPr id="3" name="Picture 3">
              <a:extLst>
                <a:ext uri="{FF2B5EF4-FFF2-40B4-BE49-F238E27FC236}">
                  <a16:creationId xmlns:a16="http://schemas.microsoft.com/office/drawing/2014/main" id="{832F0699-B6AC-56BB-C7AA-4664BB137F5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891284" y="2216889"/>
              <a:ext cx="979968" cy="979968"/>
            </a:xfrm>
            <a:prstGeom prst="rect">
              <a:avLst/>
            </a:prstGeom>
          </p:spPr>
        </p:pic>
        <p:pic>
          <p:nvPicPr>
            <p:cNvPr id="4" name="Picture 4">
              <a:extLst>
                <a:ext uri="{FF2B5EF4-FFF2-40B4-BE49-F238E27FC236}">
                  <a16:creationId xmlns:a16="http://schemas.microsoft.com/office/drawing/2014/main" id="{0EA53409-F84F-A5C2-4C3E-23958BB0BAD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269818" y="758744"/>
              <a:ext cx="971108" cy="990027"/>
            </a:xfrm>
            <a:prstGeom prst="rect">
              <a:avLst/>
            </a:prstGeom>
          </p:spPr>
        </p:pic>
        <p:pic>
          <p:nvPicPr>
            <p:cNvPr id="5" name="Picture 5">
              <a:extLst>
                <a:ext uri="{FF2B5EF4-FFF2-40B4-BE49-F238E27FC236}">
                  <a16:creationId xmlns:a16="http://schemas.microsoft.com/office/drawing/2014/main" id="{C03E62BE-67F5-C7C3-6593-05AE727C8AA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954500" y="3576781"/>
              <a:ext cx="1982777" cy="1221461"/>
            </a:xfrm>
            <a:prstGeom prst="rect">
              <a:avLst/>
            </a:prstGeom>
          </p:spPr>
        </p:pic>
        <p:pic>
          <p:nvPicPr>
            <p:cNvPr id="6" name="Afbeelding 5" descr="Afbeelding met tekst&#10;&#10;Automatisch gegenereerde beschrijving">
              <a:extLst>
                <a:ext uri="{FF2B5EF4-FFF2-40B4-BE49-F238E27FC236}">
                  <a16:creationId xmlns:a16="http://schemas.microsoft.com/office/drawing/2014/main" id="{C4CF684A-0D54-F2FC-DB50-9FBED2952F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42" t="109" r="389" b="9524"/>
            <a:stretch/>
          </p:blipFill>
          <p:spPr>
            <a:xfrm>
              <a:off x="7523749" y="1933812"/>
              <a:ext cx="1107674" cy="1383012"/>
            </a:xfrm>
            <a:prstGeom prst="rect">
              <a:avLst/>
            </a:prstGeom>
          </p:spPr>
        </p:pic>
        <p:pic>
          <p:nvPicPr>
            <p:cNvPr id="11" name="Graphic 11" descr="Terug met effen opvulling">
              <a:extLst>
                <a:ext uri="{FF2B5EF4-FFF2-40B4-BE49-F238E27FC236}">
                  <a16:creationId xmlns:a16="http://schemas.microsoft.com/office/drawing/2014/main" id="{AC7592E8-4E9A-BFF9-DCD0-BAE3D25F0B8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3300000">
              <a:off x="10296087" y="1249685"/>
              <a:ext cx="976423" cy="976423"/>
            </a:xfrm>
            <a:prstGeom prst="rect">
              <a:avLst/>
            </a:prstGeom>
          </p:spPr>
        </p:pic>
        <p:pic>
          <p:nvPicPr>
            <p:cNvPr id="15" name="Graphic 11" descr="Terug met effen opvulling">
              <a:extLst>
                <a:ext uri="{FF2B5EF4-FFF2-40B4-BE49-F238E27FC236}">
                  <a16:creationId xmlns:a16="http://schemas.microsoft.com/office/drawing/2014/main" id="{5BA759EC-B24E-28D5-9618-76BA97918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8340000">
              <a:off x="10792273" y="3252150"/>
              <a:ext cx="976423" cy="976423"/>
            </a:xfrm>
            <a:prstGeom prst="rect">
              <a:avLst/>
            </a:prstGeom>
          </p:spPr>
        </p:pic>
        <p:pic>
          <p:nvPicPr>
            <p:cNvPr id="16" name="Graphic 11" descr="Terug met effen opvulling">
              <a:extLst>
                <a:ext uri="{FF2B5EF4-FFF2-40B4-BE49-F238E27FC236}">
                  <a16:creationId xmlns:a16="http://schemas.microsoft.com/office/drawing/2014/main" id="{342AC15D-EC1A-A1E3-CB5E-19B43717CB7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4760000">
              <a:off x="7983505" y="3296452"/>
              <a:ext cx="976423" cy="976423"/>
            </a:xfrm>
            <a:prstGeom prst="rect">
              <a:avLst/>
            </a:prstGeom>
          </p:spPr>
        </p:pic>
        <p:pic>
          <p:nvPicPr>
            <p:cNvPr id="17" name="Graphic 11" descr="Terug met effen opvulling">
              <a:extLst>
                <a:ext uri="{FF2B5EF4-FFF2-40B4-BE49-F238E27FC236}">
                  <a16:creationId xmlns:a16="http://schemas.microsoft.com/office/drawing/2014/main" id="{ABBC7747-8617-7E26-BC73-10BBFE57235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21300000">
              <a:off x="8196156" y="1187660"/>
              <a:ext cx="976423" cy="97642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062472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723B3F6B-0F6D-3B3D-E5F1-89CD9D4DC6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520825"/>
            <a:ext cx="7039292" cy="3995738"/>
          </a:xfrm>
        </p:spPr>
        <p:txBody>
          <a:bodyPr/>
          <a:lstStyle/>
          <a:p>
            <a:r>
              <a:rPr lang="en-US" sz="1800" dirty="0">
                <a:effectLst/>
                <a:latin typeface="Source Sans Pro" panose="020B0503030403020204" pitchFamily="34" charset="0"/>
                <a:ea typeface="Calibri" panose="020F0502020204030204" pitchFamily="34" charset="0"/>
              </a:rPr>
              <a:t>What: Workshops with the aim to help participants develop their skills to effectively protect their health and well-being.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sz="1800" dirty="0">
                <a:effectLst/>
                <a:latin typeface="Source Sans Pro" panose="020B0503030403020204" pitchFamily="34" charset="0"/>
                <a:ea typeface="Calibri" panose="020F0502020204030204" pitchFamily="34" charset="0"/>
              </a:rPr>
              <a:t>Who: Around 50 trained volunteers.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sz="1800" dirty="0">
                <a:effectLst/>
                <a:latin typeface="Source Sans Pro" panose="020B0503030403020204" pitchFamily="34" charset="0"/>
                <a:ea typeface="Calibri" panose="020F0502020204030204" pitchFamily="34" charset="0"/>
              </a:rPr>
              <a:t>Where: Active in and working together with several reception locations for asylum seekers and emergency shelters, and partner organizations in around 6 districts, including Detention Center Rotterdam.</a:t>
            </a:r>
          </a:p>
          <a:p>
            <a:r>
              <a:rPr lang="en-US" sz="1800" dirty="0">
                <a:latin typeface="Source Sans Pro" panose="020B0503030403020204" pitchFamily="34" charset="0"/>
                <a:ea typeface="Calibri" panose="020F0502020204030204" pitchFamily="34" charset="0"/>
              </a:rPr>
              <a:t>Methodology: Interactive workshops session with a thematic focus, including access to health care, healthy habits, clear communication, using your talents and looking forward </a:t>
            </a:r>
            <a:endParaRPr lang="nl-NL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610F9E7-F1B2-BACC-364E-1BB4774B81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200" dirty="0">
                <a:solidFill>
                  <a:schemeClr val="accent1"/>
                </a:solidFill>
              </a:rPr>
              <a:t>2.2 </a:t>
            </a:r>
            <a:r>
              <a:rPr lang="nl-NL" sz="3200" dirty="0" err="1">
                <a:solidFill>
                  <a:schemeClr val="accent1"/>
                </a:solidFill>
              </a:rPr>
              <a:t>Focussed</a:t>
            </a:r>
            <a:r>
              <a:rPr lang="nl-NL" sz="3200" dirty="0">
                <a:solidFill>
                  <a:schemeClr val="accent1"/>
                </a:solidFill>
              </a:rPr>
              <a:t> PSS: Life Skills workshops </a:t>
            </a:r>
            <a:r>
              <a:rPr lang="nl-NL" sz="3200" dirty="0" err="1">
                <a:solidFill>
                  <a:schemeClr val="accent1"/>
                </a:solidFill>
              </a:rPr>
              <a:t>for</a:t>
            </a:r>
            <a:r>
              <a:rPr lang="nl-NL" sz="3200" dirty="0">
                <a:solidFill>
                  <a:schemeClr val="accent1"/>
                </a:solidFill>
              </a:rPr>
              <a:t> </a:t>
            </a:r>
            <a:r>
              <a:rPr lang="nl-NL" sz="3200" dirty="0" err="1">
                <a:solidFill>
                  <a:schemeClr val="accent1"/>
                </a:solidFill>
              </a:rPr>
              <a:t>undocumented</a:t>
            </a:r>
            <a:r>
              <a:rPr lang="nl-NL" sz="3200" dirty="0">
                <a:solidFill>
                  <a:schemeClr val="accent1"/>
                </a:solidFill>
              </a:rPr>
              <a:t> </a:t>
            </a:r>
            <a:r>
              <a:rPr lang="nl-NL" sz="3200" dirty="0" err="1">
                <a:solidFill>
                  <a:schemeClr val="accent1"/>
                </a:solidFill>
              </a:rPr>
              <a:t>migrants</a:t>
            </a:r>
            <a:r>
              <a:rPr lang="nl-NL" sz="3200" dirty="0">
                <a:solidFill>
                  <a:schemeClr val="accent1"/>
                </a:solidFill>
              </a:rPr>
              <a:t>, </a:t>
            </a:r>
            <a:r>
              <a:rPr lang="nl-NL" sz="3200" dirty="0" err="1">
                <a:solidFill>
                  <a:schemeClr val="accent1"/>
                </a:solidFill>
              </a:rPr>
              <a:t>victims</a:t>
            </a:r>
            <a:r>
              <a:rPr lang="nl-NL" sz="3200" dirty="0">
                <a:solidFill>
                  <a:schemeClr val="accent1"/>
                </a:solidFill>
              </a:rPr>
              <a:t> of human </a:t>
            </a:r>
            <a:r>
              <a:rPr lang="nl-NL" sz="3200" dirty="0" err="1">
                <a:solidFill>
                  <a:schemeClr val="accent1"/>
                </a:solidFill>
              </a:rPr>
              <a:t>trafficking</a:t>
            </a:r>
            <a:r>
              <a:rPr lang="nl-NL" sz="3200" dirty="0">
                <a:solidFill>
                  <a:schemeClr val="accent1"/>
                </a:solidFill>
              </a:rPr>
              <a:t> </a:t>
            </a:r>
            <a:r>
              <a:rPr lang="nl-NL" sz="3200" dirty="0" err="1">
                <a:solidFill>
                  <a:schemeClr val="accent1"/>
                </a:solidFill>
              </a:rPr>
              <a:t>and</a:t>
            </a:r>
            <a:r>
              <a:rPr lang="nl-NL" sz="3200" dirty="0">
                <a:solidFill>
                  <a:schemeClr val="accent1"/>
                </a:solidFill>
              </a:rPr>
              <a:t> </a:t>
            </a:r>
            <a:r>
              <a:rPr lang="nl-NL" sz="3200" dirty="0" err="1">
                <a:solidFill>
                  <a:schemeClr val="accent1"/>
                </a:solidFill>
              </a:rPr>
              <a:t>asylum</a:t>
            </a:r>
            <a:r>
              <a:rPr lang="nl-NL" sz="3200" dirty="0">
                <a:solidFill>
                  <a:schemeClr val="accent1"/>
                </a:solidFill>
              </a:rPr>
              <a:t> </a:t>
            </a:r>
            <a:r>
              <a:rPr lang="nl-NL" sz="3200" dirty="0" err="1">
                <a:solidFill>
                  <a:schemeClr val="accent1"/>
                </a:solidFill>
              </a:rPr>
              <a:t>seekers</a:t>
            </a:r>
            <a:endParaRPr lang="nl-NL" sz="3200" dirty="0"/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2C48A6AE-2486-7DBD-62DD-DF5B3E1129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3FC5B-98A5-49E4-B59C-E073B8952154}" type="slidenum">
              <a:rPr lang="nl-NL" smtClean="0"/>
              <a:t>17</a:t>
            </a:fld>
            <a:endParaRPr lang="nl-NL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31588EBD-C485-0AE9-2FF8-513563AA1E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60822" y="1784276"/>
            <a:ext cx="4231178" cy="5073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6873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1791330D-5E9B-56B7-38F9-9FA79015FC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520825"/>
            <a:ext cx="8567102" cy="3995738"/>
          </a:xfrm>
        </p:spPr>
        <p:txBody>
          <a:bodyPr>
            <a:normAutofit/>
          </a:bodyPr>
          <a:lstStyle/>
          <a:p>
            <a:r>
              <a:rPr lang="nl-NL" b="0" i="0" dirty="0" err="1">
                <a:solidFill>
                  <a:srgbClr val="333333"/>
                </a:solidFill>
                <a:effectLst/>
                <a:latin typeface="Segoe UI" panose="020B0502040204020203" pitchFamily="34" charset="0"/>
              </a:rPr>
              <a:t>What</a:t>
            </a:r>
            <a:r>
              <a:rPr lang="nl-NL" b="0" i="0" dirty="0">
                <a:solidFill>
                  <a:srgbClr val="333333"/>
                </a:solidFill>
                <a:effectLst/>
                <a:latin typeface="Segoe UI" panose="020B0502040204020203" pitchFamily="34" charset="0"/>
              </a:rPr>
              <a:t>: </a:t>
            </a:r>
            <a:r>
              <a:rPr lang="nl-NL" b="0" i="0" dirty="0" err="1">
                <a:solidFill>
                  <a:srgbClr val="333333"/>
                </a:solidFill>
                <a:effectLst/>
                <a:latin typeface="Segoe UI" panose="020B0502040204020203" pitchFamily="34" charset="0"/>
              </a:rPr>
              <a:t>Consultation</a:t>
            </a:r>
            <a:r>
              <a:rPr lang="nl-NL" b="0" i="0" dirty="0">
                <a:solidFill>
                  <a:srgbClr val="333333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nl-NL" b="0" i="0" dirty="0" err="1">
                <a:solidFill>
                  <a:srgbClr val="333333"/>
                </a:solidFill>
                <a:effectLst/>
                <a:latin typeface="Segoe UI" panose="020B0502040204020203" pitchFamily="34" charset="0"/>
              </a:rPr>
              <a:t>hours</a:t>
            </a:r>
            <a:endParaRPr lang="nl-NL" b="0" i="0" dirty="0">
              <a:solidFill>
                <a:srgbClr val="333333"/>
              </a:solidFill>
              <a:effectLst/>
              <a:latin typeface="Segoe UI" panose="020B0502040204020203" pitchFamily="34" charset="0"/>
            </a:endParaRPr>
          </a:p>
          <a:p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Who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: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provided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by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 2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U</a:t>
            </a:r>
            <a:r>
              <a:rPr lang="nl-NL" b="0" i="0" dirty="0" err="1">
                <a:solidFill>
                  <a:srgbClr val="333333"/>
                </a:solidFill>
                <a:effectLst/>
                <a:latin typeface="Segoe UI" panose="020B0502040204020203" pitchFamily="34" charset="0"/>
              </a:rPr>
              <a:t>kraïan</a:t>
            </a:r>
            <a:r>
              <a:rPr lang="nl-NL" b="0" i="0" dirty="0">
                <a:solidFill>
                  <a:srgbClr val="333333"/>
                </a:solidFill>
                <a:effectLst/>
                <a:latin typeface="Segoe UI" panose="020B0502040204020203" pitchFamily="34" charset="0"/>
              </a:rPr>
              <a:t>/Russian </a:t>
            </a:r>
            <a:r>
              <a:rPr lang="nl-NL" b="0" i="0" dirty="0" err="1">
                <a:solidFill>
                  <a:srgbClr val="333333"/>
                </a:solidFill>
                <a:effectLst/>
                <a:latin typeface="Segoe UI" panose="020B0502040204020203" pitchFamily="34" charset="0"/>
              </a:rPr>
              <a:t>and</a:t>
            </a:r>
            <a:r>
              <a:rPr lang="nl-NL" b="0" i="0" dirty="0">
                <a:solidFill>
                  <a:srgbClr val="333333"/>
                </a:solidFill>
                <a:effectLst/>
                <a:latin typeface="Segoe UI" panose="020B0502040204020203" pitchFamily="34" charset="0"/>
              </a:rPr>
              <a:t> 1 </a:t>
            </a:r>
            <a:r>
              <a:rPr lang="nl-NL" b="0" i="0" dirty="0" err="1">
                <a:solidFill>
                  <a:srgbClr val="333333"/>
                </a:solidFill>
                <a:effectLst/>
                <a:latin typeface="Segoe UI" panose="020B0502040204020203" pitchFamily="34" charset="0"/>
              </a:rPr>
              <a:t>Arabic</a:t>
            </a:r>
            <a:r>
              <a:rPr lang="nl-NL" b="0" i="0" dirty="0">
                <a:solidFill>
                  <a:srgbClr val="333333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nl-NL" b="0" i="0" dirty="0" err="1">
                <a:solidFill>
                  <a:srgbClr val="333333"/>
                </a:solidFill>
                <a:effectLst/>
                <a:latin typeface="Segoe UI" panose="020B0502040204020203" pitchFamily="34" charset="0"/>
              </a:rPr>
              <a:t>coachs</a:t>
            </a:r>
            <a:r>
              <a:rPr lang="nl-NL" b="0" i="0" dirty="0">
                <a:solidFill>
                  <a:srgbClr val="333333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Where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: in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several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reception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 shelters in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two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districts</a:t>
            </a:r>
            <a:endParaRPr lang="nl-NL" b="0" i="0" dirty="0">
              <a:solidFill>
                <a:srgbClr val="333333"/>
              </a:solidFill>
              <a:effectLst/>
              <a:latin typeface="Segoe UI" panose="020B0502040204020203" pitchFamily="34" charset="0"/>
            </a:endParaRPr>
          </a:p>
          <a:p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Methodology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: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Supportive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confidential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conversations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based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 on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accessible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 contact in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which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people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 share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their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worries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and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challenges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. The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psychosocial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 support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workers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 share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their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cultural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and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 </a:t>
            </a:r>
            <a:r>
              <a:rPr lang="nl-NL" dirty="0" err="1">
                <a:solidFill>
                  <a:srgbClr val="333333"/>
                </a:solidFill>
                <a:latin typeface="Segoe UI" panose="020B0502040204020203" pitchFamily="34" charset="0"/>
              </a:rPr>
              <a:t>linguistic</a:t>
            </a:r>
            <a:r>
              <a:rPr lang="nl-NL" dirty="0">
                <a:solidFill>
                  <a:srgbClr val="333333"/>
                </a:solidFill>
                <a:latin typeface="Segoe UI" panose="020B0502040204020203" pitchFamily="34" charset="0"/>
              </a:rPr>
              <a:t> background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84CF94A-A0AE-2CA2-D5B3-AF96558E4B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200" dirty="0">
                <a:solidFill>
                  <a:schemeClr val="accent1"/>
                </a:solidFill>
              </a:rPr>
              <a:t>2.3 </a:t>
            </a:r>
            <a:r>
              <a:rPr lang="nl-NL" sz="3200" dirty="0" err="1">
                <a:solidFill>
                  <a:schemeClr val="accent1"/>
                </a:solidFill>
              </a:rPr>
              <a:t>Focussed</a:t>
            </a:r>
            <a:r>
              <a:rPr lang="nl-NL" sz="3200" dirty="0">
                <a:solidFill>
                  <a:schemeClr val="accent1"/>
                </a:solidFill>
              </a:rPr>
              <a:t> PSS:  Coaching voor Oekraïense ontheemden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27DD8C4-2527-0FCB-647E-CFC1CE4FE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3FC5B-98A5-49E4-B59C-E073B8952154}" type="slidenum">
              <a:rPr lang="nl-NL" smtClean="0"/>
              <a:pPr/>
              <a:t>18</a:t>
            </a:fld>
            <a:endParaRPr lang="nl-NL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7A918702-5D12-FF85-D50F-18E86D7C5F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91600" y="2635432"/>
            <a:ext cx="3200400" cy="3371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2427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6A397533-17B7-421A-B2FC-2DA9AB5FF1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520825"/>
            <a:ext cx="6799262" cy="3995738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nl-NL" dirty="0" err="1"/>
              <a:t>What</a:t>
            </a:r>
            <a:r>
              <a:rPr lang="nl-NL" dirty="0"/>
              <a:t>: To </a:t>
            </a:r>
            <a:r>
              <a:rPr lang="nl-NL" dirty="0" err="1"/>
              <a:t>provide</a:t>
            </a:r>
            <a:r>
              <a:rPr lang="nl-NL" dirty="0"/>
              <a:t> </a:t>
            </a:r>
            <a:r>
              <a:rPr lang="nl-NL" dirty="0" err="1"/>
              <a:t>psychosocial</a:t>
            </a:r>
            <a:r>
              <a:rPr lang="nl-NL" dirty="0"/>
              <a:t> support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peopl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limited</a:t>
            </a:r>
            <a:r>
              <a:rPr lang="nl-NL" dirty="0"/>
              <a:t> </a:t>
            </a:r>
            <a:r>
              <a:rPr lang="nl-NL" dirty="0" err="1"/>
              <a:t>social</a:t>
            </a:r>
            <a:r>
              <a:rPr lang="nl-NL" dirty="0"/>
              <a:t> </a:t>
            </a:r>
            <a:r>
              <a:rPr lang="nl-NL" dirty="0" err="1"/>
              <a:t>network</a:t>
            </a:r>
            <a:r>
              <a:rPr lang="nl-NL" dirty="0"/>
              <a:t>, </a:t>
            </a:r>
            <a:r>
              <a:rPr lang="nl-NL" dirty="0" err="1"/>
              <a:t>so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nobody</a:t>
            </a:r>
            <a:r>
              <a:rPr lang="nl-NL" dirty="0"/>
              <a:t> is standing </a:t>
            </a:r>
            <a:r>
              <a:rPr lang="nl-NL" dirty="0" err="1"/>
              <a:t>alone</a:t>
            </a:r>
            <a:r>
              <a:rPr lang="nl-NL" dirty="0"/>
              <a:t> in </a:t>
            </a:r>
            <a:r>
              <a:rPr lang="nl-NL" dirty="0" err="1"/>
              <a:t>times</a:t>
            </a:r>
            <a:r>
              <a:rPr lang="nl-NL" dirty="0"/>
              <a:t> of </a:t>
            </a:r>
            <a:r>
              <a:rPr lang="nl-NL" dirty="0" err="1"/>
              <a:t>need</a:t>
            </a:r>
            <a:r>
              <a:rPr lang="nl-NL" dirty="0"/>
              <a:t>  -</a:t>
            </a:r>
            <a:r>
              <a:rPr lang="nl-NL" dirty="0" err="1"/>
              <a:t>aiming</a:t>
            </a:r>
            <a:r>
              <a:rPr lang="nl-NL" dirty="0"/>
              <a:t> to:</a:t>
            </a:r>
          </a:p>
          <a:p>
            <a:r>
              <a:rPr lang="nl-NL" dirty="0"/>
              <a:t>Make </a:t>
            </a:r>
            <a:r>
              <a:rPr lang="nl-NL" dirty="0" err="1"/>
              <a:t>people</a:t>
            </a:r>
            <a:r>
              <a:rPr lang="nl-NL" dirty="0"/>
              <a:t> feel </a:t>
            </a:r>
            <a:r>
              <a:rPr lang="nl-NL" dirty="0" err="1"/>
              <a:t>supported</a:t>
            </a:r>
            <a:endParaRPr lang="nl-NL" dirty="0"/>
          </a:p>
          <a:p>
            <a:r>
              <a:rPr lang="nl-NL" dirty="0"/>
              <a:t>Help </a:t>
            </a:r>
            <a:r>
              <a:rPr lang="nl-NL" dirty="0" err="1"/>
              <a:t>them</a:t>
            </a:r>
            <a:r>
              <a:rPr lang="nl-NL" dirty="0"/>
              <a:t> to access to proper care </a:t>
            </a:r>
            <a:r>
              <a:rPr lang="nl-NL" dirty="0" err="1"/>
              <a:t>and</a:t>
            </a:r>
            <a:r>
              <a:rPr lang="nl-NL" dirty="0"/>
              <a:t> support</a:t>
            </a:r>
          </a:p>
          <a:p>
            <a:r>
              <a:rPr lang="nl-NL" dirty="0"/>
              <a:t>Meet </a:t>
            </a:r>
            <a:r>
              <a:rPr lang="nl-NL" dirty="0" err="1"/>
              <a:t>their</a:t>
            </a:r>
            <a:r>
              <a:rPr lang="nl-NL" dirty="0"/>
              <a:t> basic </a:t>
            </a:r>
            <a:r>
              <a:rPr lang="nl-NL" dirty="0" err="1"/>
              <a:t>needs</a:t>
            </a:r>
            <a:r>
              <a:rPr lang="nl-NL" dirty="0"/>
              <a:t> </a:t>
            </a:r>
          </a:p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r>
              <a:rPr lang="nl-NL" dirty="0" err="1"/>
              <a:t>Who</a:t>
            </a:r>
            <a:r>
              <a:rPr lang="nl-NL" dirty="0"/>
              <a:t>: Volunteers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staff</a:t>
            </a:r>
            <a:r>
              <a:rPr lang="nl-NL" dirty="0"/>
              <a:t> of the Helpline, in </a:t>
            </a:r>
            <a:r>
              <a:rPr lang="nl-NL" dirty="0" err="1"/>
              <a:t>districts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trained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skilled</a:t>
            </a:r>
            <a:r>
              <a:rPr lang="nl-NL" dirty="0"/>
              <a:t> coaches</a:t>
            </a:r>
          </a:p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r>
              <a:rPr lang="nl-NL" dirty="0" err="1"/>
              <a:t>Methodology</a:t>
            </a:r>
            <a:r>
              <a:rPr lang="nl-NL" dirty="0"/>
              <a:t>: </a:t>
            </a:r>
            <a:r>
              <a:rPr lang="nl-NL" dirty="0" err="1"/>
              <a:t>Psychological</a:t>
            </a:r>
            <a:r>
              <a:rPr lang="nl-NL" dirty="0"/>
              <a:t> First </a:t>
            </a:r>
            <a:r>
              <a:rPr lang="nl-NL" dirty="0" err="1"/>
              <a:t>Aid</a:t>
            </a:r>
            <a:r>
              <a:rPr lang="nl-NL" dirty="0"/>
              <a:t>,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referrals</a:t>
            </a:r>
            <a:r>
              <a:rPr lang="nl-NL" dirty="0"/>
              <a:t> </a:t>
            </a:r>
            <a:r>
              <a:rPr lang="nl-NL" dirty="0" err="1"/>
              <a:t>internally</a:t>
            </a:r>
            <a:r>
              <a:rPr lang="nl-NL" dirty="0"/>
              <a:t> (</a:t>
            </a:r>
            <a:r>
              <a:rPr lang="nl-NL" dirty="0" err="1"/>
              <a:t>mainly</a:t>
            </a:r>
            <a:r>
              <a:rPr lang="nl-NL" dirty="0"/>
              <a:t> food support)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externally</a:t>
            </a:r>
            <a:r>
              <a:rPr lang="nl-NL" dirty="0"/>
              <a:t> (to care) 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50C15A0-EF94-FD25-0F16-AA4A8715B5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NL" sz="3200" dirty="0">
                <a:solidFill>
                  <a:schemeClr val="accent1"/>
                </a:solidFill>
              </a:rPr>
              <a:t>2.4 </a:t>
            </a:r>
            <a:r>
              <a:rPr lang="nl-NL" sz="3200" dirty="0" err="1">
                <a:solidFill>
                  <a:schemeClr val="accent1"/>
                </a:solidFill>
              </a:rPr>
              <a:t>Focussed</a:t>
            </a:r>
            <a:r>
              <a:rPr lang="nl-NL" sz="3200" dirty="0">
                <a:solidFill>
                  <a:schemeClr val="accent1"/>
                </a:solidFill>
              </a:rPr>
              <a:t> PSS: ‘Look </a:t>
            </a:r>
            <a:r>
              <a:rPr lang="nl-NL" sz="3200" dirty="0" err="1">
                <a:solidFill>
                  <a:schemeClr val="accent1"/>
                </a:solidFill>
              </a:rPr>
              <a:t>after</a:t>
            </a:r>
            <a:r>
              <a:rPr lang="nl-NL" sz="3200" dirty="0">
                <a:solidFill>
                  <a:schemeClr val="accent1"/>
                </a:solidFill>
              </a:rPr>
              <a:t> </a:t>
            </a:r>
            <a:r>
              <a:rPr lang="nl-NL" sz="3200" dirty="0" err="1">
                <a:solidFill>
                  <a:schemeClr val="accent1"/>
                </a:solidFill>
              </a:rPr>
              <a:t>another</a:t>
            </a:r>
            <a:r>
              <a:rPr lang="nl-NL" sz="3200" dirty="0">
                <a:solidFill>
                  <a:schemeClr val="accent1"/>
                </a:solidFill>
              </a:rPr>
              <a:t>’ </a:t>
            </a:r>
            <a:r>
              <a:rPr lang="nl-NL" sz="3200" dirty="0" err="1">
                <a:solidFill>
                  <a:schemeClr val="accent1"/>
                </a:solidFill>
              </a:rPr>
              <a:t>network</a:t>
            </a:r>
            <a:r>
              <a:rPr lang="nl-NL" sz="3200" dirty="0">
                <a:solidFill>
                  <a:schemeClr val="accent1"/>
                </a:solidFill>
              </a:rPr>
              <a:t> </a:t>
            </a:r>
            <a:r>
              <a:rPr lang="nl-NL" sz="3200" dirty="0" err="1">
                <a:solidFill>
                  <a:schemeClr val="accent1"/>
                </a:solidFill>
              </a:rPr>
              <a:t>for</a:t>
            </a:r>
            <a:r>
              <a:rPr lang="nl-NL" sz="3200" dirty="0">
                <a:solidFill>
                  <a:schemeClr val="accent1"/>
                </a:solidFill>
              </a:rPr>
              <a:t> persons </a:t>
            </a:r>
            <a:r>
              <a:rPr lang="nl-NL" sz="3200" dirty="0" err="1">
                <a:solidFill>
                  <a:schemeClr val="accent1"/>
                </a:solidFill>
              </a:rPr>
              <a:t>with</a:t>
            </a:r>
            <a:r>
              <a:rPr lang="nl-NL" sz="3200" dirty="0">
                <a:solidFill>
                  <a:schemeClr val="accent1"/>
                </a:solidFill>
              </a:rPr>
              <a:t> multiple </a:t>
            </a:r>
            <a:r>
              <a:rPr lang="nl-NL" sz="3200" dirty="0" err="1">
                <a:solidFill>
                  <a:schemeClr val="accent1"/>
                </a:solidFill>
              </a:rPr>
              <a:t>problems</a:t>
            </a:r>
            <a:r>
              <a:rPr lang="nl-NL" sz="3200" dirty="0">
                <a:solidFill>
                  <a:schemeClr val="accent1"/>
                </a:solidFill>
              </a:rPr>
              <a:t> in the Netherlands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CF8394E7-1A26-0900-9B75-89CB87FC55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3FC5B-98A5-49E4-B59C-E073B8952154}" type="slidenum">
              <a:rPr lang="nl-NL" smtClean="0"/>
              <a:pPr/>
              <a:t>19</a:t>
            </a:fld>
            <a:endParaRPr lang="nl-NL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141969B4-8C61-7EAF-FBA5-FB042FA079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13637" y="1329150"/>
            <a:ext cx="4162425" cy="5276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3948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ndertitel 1">
            <a:extLst>
              <a:ext uri="{FF2B5EF4-FFF2-40B4-BE49-F238E27FC236}">
                <a16:creationId xmlns:a16="http://schemas.microsoft.com/office/drawing/2014/main" id="{56B2E677-DFDD-41E6-B7E7-925C6E0D8B7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 err="1"/>
              <a:t>Thematic</a:t>
            </a:r>
            <a:r>
              <a:rPr lang="nl-NL" dirty="0"/>
              <a:t> </a:t>
            </a:r>
            <a:r>
              <a:rPr lang="nl-NL" dirty="0" err="1"/>
              <a:t>Overview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0AE295D4-0409-88AA-F3F1-7A8F42037DC7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nl-NL" dirty="0"/>
              <a:t>Team PSO: </a:t>
            </a:r>
            <a:r>
              <a:rPr lang="nl-NL" dirty="0" err="1"/>
              <a:t>who</a:t>
            </a:r>
            <a:r>
              <a:rPr lang="nl-NL" dirty="0"/>
              <a:t> are we?</a:t>
            </a:r>
          </a:p>
          <a:p>
            <a:pPr marL="457200" indent="-457200">
              <a:buFont typeface="+mj-lt"/>
              <a:buAutoNum type="arabicPeriod"/>
            </a:pPr>
            <a:r>
              <a:rPr lang="nl-NL" dirty="0"/>
              <a:t>PSS in the NLRC </a:t>
            </a:r>
            <a:r>
              <a:rPr lang="nl-NL" dirty="0" err="1"/>
              <a:t>Strategy</a:t>
            </a:r>
            <a:endParaRPr lang="nl-NL" dirty="0"/>
          </a:p>
          <a:p>
            <a:pPr marL="457200" indent="-457200">
              <a:buFont typeface="+mj-lt"/>
              <a:buAutoNum type="arabicPeriod"/>
            </a:pPr>
            <a:r>
              <a:rPr lang="nl-NL" dirty="0" err="1"/>
              <a:t>Overview</a:t>
            </a:r>
            <a:r>
              <a:rPr lang="nl-NL" dirty="0"/>
              <a:t> of </a:t>
            </a:r>
            <a:r>
              <a:rPr lang="nl-NL" dirty="0" err="1"/>
              <a:t>current</a:t>
            </a:r>
            <a:r>
              <a:rPr lang="nl-NL" dirty="0"/>
              <a:t> PSS </a:t>
            </a:r>
            <a:r>
              <a:rPr lang="nl-NL" dirty="0" err="1"/>
              <a:t>interventions</a:t>
            </a:r>
            <a:r>
              <a:rPr lang="nl-NL" dirty="0"/>
              <a:t>, </a:t>
            </a:r>
            <a:r>
              <a:rPr lang="nl-NL" dirty="0" err="1"/>
              <a:t>including</a:t>
            </a:r>
            <a:r>
              <a:rPr lang="nl-NL" dirty="0"/>
              <a:t> PSS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staff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volunteers</a:t>
            </a:r>
            <a:r>
              <a:rPr lang="nl-NL" dirty="0"/>
              <a:t> </a:t>
            </a:r>
          </a:p>
          <a:p>
            <a:pPr marL="457200" indent="-457200">
              <a:buFont typeface="+mj-lt"/>
              <a:buAutoNum type="arabicPeriod"/>
            </a:pPr>
            <a:r>
              <a:rPr lang="nl-NL" dirty="0" err="1"/>
              <a:t>Overview</a:t>
            </a:r>
            <a:r>
              <a:rPr lang="nl-NL" dirty="0"/>
              <a:t> of past PSS </a:t>
            </a:r>
            <a:r>
              <a:rPr lang="nl-NL" dirty="0" err="1"/>
              <a:t>interventions</a:t>
            </a:r>
            <a:endParaRPr lang="nl-NL" dirty="0"/>
          </a:p>
          <a:p>
            <a:pPr marL="457200" indent="-457200">
              <a:buFont typeface="+mj-lt"/>
              <a:buAutoNum type="arabicPeriod"/>
            </a:pPr>
            <a:r>
              <a:rPr lang="nl-NL" dirty="0" err="1"/>
              <a:t>Overview</a:t>
            </a:r>
            <a:r>
              <a:rPr lang="nl-NL" dirty="0"/>
              <a:t> of past </a:t>
            </a:r>
            <a:r>
              <a:rPr lang="nl-NL" dirty="0" err="1"/>
              <a:t>campaigns</a:t>
            </a:r>
            <a:r>
              <a:rPr lang="nl-NL" dirty="0"/>
              <a:t> </a:t>
            </a:r>
          </a:p>
          <a:p>
            <a:pPr marL="457200" indent="-457200">
              <a:buFont typeface="+mj-lt"/>
              <a:buAutoNum type="arabicPeriod"/>
            </a:pPr>
            <a:r>
              <a:rPr lang="nl-NL" dirty="0" err="1"/>
              <a:t>Other</a:t>
            </a:r>
            <a:r>
              <a:rPr lang="nl-NL" dirty="0"/>
              <a:t> </a:t>
            </a:r>
            <a:r>
              <a:rPr lang="nl-NL" dirty="0" err="1"/>
              <a:t>forms</a:t>
            </a:r>
            <a:r>
              <a:rPr lang="nl-NL" dirty="0"/>
              <a:t> of PSS </a:t>
            </a:r>
            <a:r>
              <a:rPr lang="nl-NL" dirty="0" err="1"/>
              <a:t>involvement</a:t>
            </a:r>
            <a:endParaRPr lang="nl-NL" dirty="0"/>
          </a:p>
        </p:txBody>
      </p:sp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E4868315-FDB9-B5B3-3EE9-817CD80C933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46787653-A282-1D0B-7128-EEC73FB8880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9C3B075-F661-31DC-C95B-A20B150A562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023FC5B-98A5-49E4-B59C-E073B8952154}" type="slidenum">
              <a:rPr lang="nl-NL" smtClean="0"/>
              <a:pPr/>
              <a:t>2</a:t>
            </a:fld>
            <a:endParaRPr lang="nl-NL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6FB68E26-0B0F-573D-BE99-927BB1515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Resolution</a:t>
            </a:r>
            <a:r>
              <a:rPr lang="nl-NL" dirty="0"/>
              <a:t> MHPSS </a:t>
            </a:r>
            <a:r>
              <a:rPr lang="nl-NL" dirty="0" err="1"/>
              <a:t>within</a:t>
            </a:r>
            <a:r>
              <a:rPr lang="nl-NL" dirty="0"/>
              <a:t> the Netherlands Red Cross	</a:t>
            </a:r>
          </a:p>
        </p:txBody>
      </p:sp>
    </p:spTree>
    <p:extLst>
      <p:ext uri="{BB962C8B-B14F-4D97-AF65-F5344CB8AC3E}">
        <p14:creationId xmlns:p14="http://schemas.microsoft.com/office/powerpoint/2010/main" val="509374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43C7C578-650A-24DB-7BB1-1B57304882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06689" y="1083912"/>
            <a:ext cx="8377654" cy="1008000"/>
          </a:xfrm>
        </p:spPr>
        <p:txBody>
          <a:bodyPr anchor="b">
            <a:noAutofit/>
          </a:bodyPr>
          <a:lstStyle/>
          <a:p>
            <a:pPr algn="ctr"/>
            <a:r>
              <a:rPr lang="nl-NL" dirty="0" err="1">
                <a:solidFill>
                  <a:schemeClr val="accent1"/>
                </a:solidFill>
              </a:rPr>
              <a:t>Pillar</a:t>
            </a:r>
            <a:r>
              <a:rPr lang="nl-NL" dirty="0">
                <a:solidFill>
                  <a:schemeClr val="accent1"/>
                </a:solidFill>
              </a:rPr>
              <a:t> 3</a:t>
            </a:r>
            <a:r>
              <a:rPr lang="nl-NL" dirty="0"/>
              <a:t> </a:t>
            </a:r>
            <a:br>
              <a:rPr lang="nl-NL" dirty="0"/>
            </a:br>
            <a:r>
              <a:rPr lang="en-US" sz="3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engthening the resilience of our help givers </a:t>
            </a:r>
            <a:endParaRPr lang="nl-NL" dirty="0"/>
          </a:p>
        </p:txBody>
      </p:sp>
      <p:sp>
        <p:nvSpPr>
          <p:cNvPr id="7" name="Ondertitel 6">
            <a:extLst>
              <a:ext uri="{FF2B5EF4-FFF2-40B4-BE49-F238E27FC236}">
                <a16:creationId xmlns:a16="http://schemas.microsoft.com/office/drawing/2014/main" id="{E8CEC1BF-5E72-47DE-8BED-A1D8775067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45771" y="2556000"/>
            <a:ext cx="9078686" cy="648000"/>
          </a:xfrm>
        </p:spPr>
        <p:txBody>
          <a:bodyPr>
            <a:no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dirty="0"/>
              <a:t>National </a:t>
            </a:r>
            <a:r>
              <a:rPr lang="nl-NL" dirty="0" err="1"/>
              <a:t>wide</a:t>
            </a:r>
            <a:r>
              <a:rPr lang="nl-NL" dirty="0"/>
              <a:t> Team </a:t>
            </a:r>
            <a:r>
              <a:rPr lang="nl-NL" dirty="0" err="1"/>
              <a:t>Colllegial</a:t>
            </a:r>
            <a:r>
              <a:rPr lang="nl-NL" dirty="0"/>
              <a:t> Support </a:t>
            </a:r>
            <a:r>
              <a:rPr lang="nl-NL" dirty="0" err="1"/>
              <a:t>structure</a:t>
            </a:r>
            <a:r>
              <a:rPr lang="nl-NL" dirty="0"/>
              <a:t>: </a:t>
            </a:r>
            <a:r>
              <a:rPr lang="nl-NL" dirty="0" err="1"/>
              <a:t>trained</a:t>
            </a:r>
            <a:r>
              <a:rPr lang="nl-NL" dirty="0"/>
              <a:t> </a:t>
            </a:r>
            <a:r>
              <a:rPr lang="nl-NL" dirty="0" err="1"/>
              <a:t>volunteers</a:t>
            </a:r>
            <a:r>
              <a:rPr lang="nl-NL" dirty="0"/>
              <a:t> </a:t>
            </a:r>
            <a:r>
              <a:rPr lang="nl-NL" dirty="0" err="1"/>
              <a:t>that</a:t>
            </a:r>
            <a:r>
              <a:rPr lang="nl-NL" dirty="0"/>
              <a:t> </a:t>
            </a:r>
            <a:r>
              <a:rPr lang="nl-NL" dirty="0" err="1"/>
              <a:t>provide</a:t>
            </a:r>
            <a:r>
              <a:rPr lang="nl-NL" dirty="0"/>
              <a:t> peer support to NLRC </a:t>
            </a:r>
            <a:r>
              <a:rPr lang="nl-NL" dirty="0" err="1"/>
              <a:t>colleagues</a:t>
            </a:r>
            <a:r>
              <a:rPr lang="nl-NL" dirty="0"/>
              <a:t> </a:t>
            </a:r>
            <a:r>
              <a:rPr lang="nl-NL" dirty="0" err="1"/>
              <a:t>after</a:t>
            </a:r>
            <a:r>
              <a:rPr lang="nl-NL" dirty="0"/>
              <a:t> </a:t>
            </a:r>
            <a:r>
              <a:rPr lang="nl-NL" dirty="0" err="1"/>
              <a:t>having</a:t>
            </a:r>
            <a:r>
              <a:rPr lang="nl-NL" dirty="0"/>
              <a:t> </a:t>
            </a:r>
            <a:r>
              <a:rPr lang="nl-NL" dirty="0" err="1"/>
              <a:t>experienced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impressive</a:t>
            </a:r>
            <a:r>
              <a:rPr lang="nl-NL" dirty="0"/>
              <a:t> </a:t>
            </a:r>
            <a:r>
              <a:rPr lang="nl-NL" dirty="0" err="1"/>
              <a:t>situation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being</a:t>
            </a:r>
            <a:r>
              <a:rPr lang="nl-NL" dirty="0"/>
              <a:t> </a:t>
            </a:r>
            <a:r>
              <a:rPr lang="nl-NL" dirty="0" err="1"/>
              <a:t>availeble</a:t>
            </a:r>
            <a:r>
              <a:rPr lang="nl-NL" dirty="0"/>
              <a:t> </a:t>
            </a:r>
            <a:r>
              <a:rPr lang="nl-NL" dirty="0" err="1"/>
              <a:t>during</a:t>
            </a:r>
            <a:r>
              <a:rPr lang="nl-NL" dirty="0"/>
              <a:t> high risk </a:t>
            </a:r>
            <a:r>
              <a:rPr lang="nl-NL" dirty="0" err="1"/>
              <a:t>shifts</a:t>
            </a:r>
            <a:r>
              <a:rPr lang="nl-NL" dirty="0"/>
              <a:t> 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dirty="0"/>
              <a:t>Attention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precare</a:t>
            </a:r>
            <a:r>
              <a:rPr lang="nl-NL" dirty="0"/>
              <a:t> </a:t>
            </a:r>
            <a:r>
              <a:rPr lang="nl-NL" dirty="0" err="1"/>
              <a:t>an</a:t>
            </a:r>
            <a:r>
              <a:rPr lang="nl-NL" dirty="0"/>
              <a:t> </a:t>
            </a:r>
            <a:r>
              <a:rPr lang="nl-NL" dirty="0" err="1"/>
              <a:t>aftercare</a:t>
            </a:r>
            <a:r>
              <a:rPr lang="nl-NL" dirty="0"/>
              <a:t> </a:t>
            </a:r>
          </a:p>
        </p:txBody>
      </p:sp>
      <p:pic>
        <p:nvPicPr>
          <p:cNvPr id="8" name="Tijdelijke aanduiding voor afbeelding 7">
            <a:extLst>
              <a:ext uri="{FF2B5EF4-FFF2-40B4-BE49-F238E27FC236}">
                <a16:creationId xmlns:a16="http://schemas.microsoft.com/office/drawing/2014/main" id="{C09048FF-847B-471F-A84F-3BFA02109A8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346" b="3"/>
          <a:stretch/>
        </p:blipFill>
        <p:spPr>
          <a:xfrm>
            <a:off x="4151516" y="3897313"/>
            <a:ext cx="3888000" cy="2960687"/>
          </a:xfrm>
          <a:noFill/>
        </p:spPr>
      </p:pic>
      <p:pic>
        <p:nvPicPr>
          <p:cNvPr id="13" name="Tijdelijke aanduiding voor afbeelding 12">
            <a:extLst>
              <a:ext uri="{FF2B5EF4-FFF2-40B4-BE49-F238E27FC236}">
                <a16:creationId xmlns:a16="http://schemas.microsoft.com/office/drawing/2014/main" id="{2675B44A-E7CF-4062-9B76-5229FB6EE06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14" r="6214"/>
          <a:stretch/>
        </p:blipFill>
        <p:spPr>
          <a:xfrm>
            <a:off x="8304000" y="3897313"/>
            <a:ext cx="3888000" cy="2959836"/>
          </a:xfrm>
          <a:noFill/>
        </p:spPr>
      </p:pic>
    </p:spTree>
    <p:extLst>
      <p:ext uri="{BB962C8B-B14F-4D97-AF65-F5344CB8AC3E}">
        <p14:creationId xmlns:p14="http://schemas.microsoft.com/office/powerpoint/2010/main" val="12828565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 descr="Afbeelding met buitenshuis, gras, persoon, grond&#10;&#10;Automatisch gegenereerde beschrijving">
            <a:extLst>
              <a:ext uri="{FF2B5EF4-FFF2-40B4-BE49-F238E27FC236}">
                <a16:creationId xmlns:a16="http://schemas.microsoft.com/office/drawing/2014/main" id="{878186F4-53A2-33B1-A649-1C3CAC7A4FF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110" t="7744" r="6430" b="7744"/>
          <a:stretch/>
        </p:blipFill>
        <p:spPr>
          <a:xfrm>
            <a:off x="0" y="2083917"/>
            <a:ext cx="6459220" cy="4774083"/>
          </a:xfrm>
          <a:prstGeom prst="rect">
            <a:avLst/>
          </a:prstGeom>
        </p:spPr>
      </p:pic>
      <p:pic>
        <p:nvPicPr>
          <p:cNvPr id="4" name="Afbeelding 3" descr="Afbeelding met logo&#10;&#10;Automatisch gegenereerde beschrijving">
            <a:extLst>
              <a:ext uri="{FF2B5EF4-FFF2-40B4-BE49-F238E27FC236}">
                <a16:creationId xmlns:a16="http://schemas.microsoft.com/office/drawing/2014/main" id="{A46732AB-7BDE-6FA1-830E-6EC2E923E1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345000"/>
            <a:ext cx="1026000" cy="513000"/>
          </a:xfrm>
          <a:prstGeom prst="rect">
            <a:avLst/>
          </a:prstGeom>
        </p:spPr>
      </p:pic>
      <p:sp>
        <p:nvSpPr>
          <p:cNvPr id="9" name="Tekstvak 8"/>
          <p:cNvSpPr txBox="1"/>
          <p:nvPr/>
        </p:nvSpPr>
        <p:spPr>
          <a:xfrm>
            <a:off x="0" y="1318838"/>
            <a:ext cx="6459220" cy="888190"/>
          </a:xfrm>
          <a:prstGeom prst="rect">
            <a:avLst/>
          </a:prstGeom>
          <a:solidFill>
            <a:srgbClr val="4B7382"/>
          </a:solidFill>
        </p:spPr>
        <p:txBody>
          <a:bodyPr wrap="square" lIns="135000" tIns="135000" rIns="135000" bIns="135000" rtlCol="0">
            <a:spAutoFit/>
          </a:bodyPr>
          <a:lstStyle/>
          <a:p>
            <a:r>
              <a:rPr lang="nl-NL" sz="2000" dirty="0">
                <a:solidFill>
                  <a:schemeClr val="bg1"/>
                </a:solidFill>
                <a:latin typeface="Source Sans Pro Black" panose="020B0803030403020204" pitchFamily="34" charset="0"/>
              </a:rPr>
              <a:t>Call 085 760 5798 </a:t>
            </a:r>
            <a:r>
              <a:rPr lang="nl-NL" sz="2000" dirty="0" err="1">
                <a:solidFill>
                  <a:schemeClr val="bg1"/>
                </a:solidFill>
                <a:latin typeface="Source Sans Pro Black" panose="020B0803030403020204" pitchFamily="34" charset="0"/>
              </a:rPr>
              <a:t>and</a:t>
            </a:r>
            <a:r>
              <a:rPr lang="nl-NL" sz="2000" dirty="0">
                <a:solidFill>
                  <a:schemeClr val="bg1"/>
                </a:solidFill>
                <a:latin typeface="Source Sans Pro Black" panose="020B0803030403020204" pitchFamily="34" charset="0"/>
              </a:rPr>
              <a:t> </a:t>
            </a:r>
            <a:r>
              <a:rPr lang="nl-NL" sz="2000" dirty="0" err="1">
                <a:solidFill>
                  <a:schemeClr val="bg1"/>
                </a:solidFill>
                <a:latin typeface="Source Sans Pro Black" panose="020B0803030403020204" pitchFamily="34" charset="0"/>
              </a:rPr>
              <a:t>speak</a:t>
            </a:r>
            <a:r>
              <a:rPr lang="nl-NL" sz="2000" dirty="0">
                <a:solidFill>
                  <a:schemeClr val="bg1"/>
                </a:solidFill>
                <a:latin typeface="Source Sans Pro Black" panose="020B0803030403020204" pitchFamily="34" charset="0"/>
              </a:rPr>
              <a:t> </a:t>
            </a:r>
            <a:r>
              <a:rPr lang="nl-NL" sz="2000" dirty="0" err="1">
                <a:solidFill>
                  <a:schemeClr val="bg1"/>
                </a:solidFill>
                <a:latin typeface="Source Sans Pro Black" panose="020B0803030403020204" pitchFamily="34" charset="0"/>
              </a:rPr>
              <a:t>with</a:t>
            </a:r>
            <a:r>
              <a:rPr lang="nl-NL" sz="2000" dirty="0">
                <a:solidFill>
                  <a:schemeClr val="bg1"/>
                </a:solidFill>
                <a:latin typeface="Source Sans Pro Black" panose="020B0803030403020204" pitchFamily="34" charset="0"/>
              </a:rPr>
              <a:t> </a:t>
            </a:r>
            <a:r>
              <a:rPr lang="nl-NL" sz="2000" dirty="0" err="1">
                <a:solidFill>
                  <a:schemeClr val="bg1"/>
                </a:solidFill>
                <a:latin typeface="Source Sans Pro Black" panose="020B0803030403020204" pitchFamily="34" charset="0"/>
              </a:rPr>
              <a:t>peers</a:t>
            </a:r>
            <a:endParaRPr lang="nl-NL" sz="2000" dirty="0">
              <a:solidFill>
                <a:schemeClr val="bg1"/>
              </a:solidFill>
              <a:latin typeface="Source Sans Pro Black" panose="020B0803030403020204" pitchFamily="34" charset="0"/>
            </a:endParaRPr>
          </a:p>
          <a:p>
            <a:r>
              <a:rPr lang="nl-NL" sz="2000" dirty="0">
                <a:solidFill>
                  <a:schemeClr val="bg1"/>
                </a:solidFill>
                <a:latin typeface="Source Sans Pro Black" panose="020B0803030403020204" pitchFamily="34" charset="0"/>
              </a:rPr>
              <a:t>Direct, close </a:t>
            </a:r>
            <a:r>
              <a:rPr lang="nl-NL" sz="2000" dirty="0" err="1">
                <a:solidFill>
                  <a:schemeClr val="bg1"/>
                </a:solidFill>
                <a:latin typeface="Source Sans Pro Black" panose="020B0803030403020204" pitchFamily="34" charset="0"/>
              </a:rPr>
              <a:t>by</a:t>
            </a:r>
            <a:r>
              <a:rPr lang="nl-NL" sz="2000" dirty="0">
                <a:solidFill>
                  <a:schemeClr val="bg1"/>
                </a:solidFill>
                <a:latin typeface="Source Sans Pro Black" panose="020B0803030403020204" pitchFamily="34" charset="0"/>
              </a:rPr>
              <a:t> </a:t>
            </a:r>
            <a:r>
              <a:rPr lang="nl-NL" sz="2000" dirty="0" err="1">
                <a:solidFill>
                  <a:schemeClr val="bg1"/>
                </a:solidFill>
                <a:latin typeface="Source Sans Pro Black" panose="020B0803030403020204" pitchFamily="34" charset="0"/>
              </a:rPr>
              <a:t>and</a:t>
            </a:r>
            <a:r>
              <a:rPr lang="nl-NL" sz="2000" dirty="0">
                <a:solidFill>
                  <a:schemeClr val="bg1"/>
                </a:solidFill>
                <a:latin typeface="Source Sans Pro Black" panose="020B0803030403020204" pitchFamily="34" charset="0"/>
              </a:rPr>
              <a:t> </a:t>
            </a:r>
            <a:r>
              <a:rPr lang="nl-NL" sz="2000" dirty="0" err="1">
                <a:solidFill>
                  <a:schemeClr val="bg1"/>
                </a:solidFill>
                <a:latin typeface="Source Sans Pro Black" panose="020B0803030403020204" pitchFamily="34" charset="0"/>
              </a:rPr>
              <a:t>confidential</a:t>
            </a:r>
            <a:endParaRPr lang="nl-NL" sz="2000" dirty="0">
              <a:solidFill>
                <a:schemeClr val="bg1"/>
              </a:solidFill>
              <a:latin typeface="Source Sans Pro Black" panose="020B0803030403020204" pitchFamily="34" charset="0"/>
            </a:endParaRPr>
          </a:p>
        </p:txBody>
      </p:sp>
      <p:sp>
        <p:nvSpPr>
          <p:cNvPr id="8" name="Tekstvak 7"/>
          <p:cNvSpPr txBox="1"/>
          <p:nvPr/>
        </p:nvSpPr>
        <p:spPr>
          <a:xfrm>
            <a:off x="0" y="553759"/>
            <a:ext cx="6459220" cy="765079"/>
          </a:xfrm>
          <a:prstGeom prst="rect">
            <a:avLst/>
          </a:prstGeom>
          <a:solidFill>
            <a:srgbClr val="5A5F64"/>
          </a:solidFill>
        </p:spPr>
        <p:txBody>
          <a:bodyPr wrap="square" lIns="135000" tIns="135000" rIns="135000" bIns="135000" rtlCol="0">
            <a:spAutoFit/>
          </a:bodyPr>
          <a:lstStyle/>
          <a:p>
            <a:r>
              <a:rPr lang="nl-NL" sz="3200" b="1" dirty="0">
                <a:solidFill>
                  <a:schemeClr val="bg1"/>
                </a:solidFill>
                <a:latin typeface="Source Sans Pro" panose="020B0503030403020204" pitchFamily="34" charset="0"/>
              </a:rPr>
              <a:t>3.1 Peer Support Team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B52235C6-C750-29AB-9DE5-232B54FA2293}"/>
              </a:ext>
            </a:extLst>
          </p:cNvPr>
          <p:cNvSpPr txBox="1"/>
          <p:nvPr/>
        </p:nvSpPr>
        <p:spPr>
          <a:xfrm>
            <a:off x="6807200" y="532971"/>
            <a:ext cx="4960620" cy="6863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hat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one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-to-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one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onversation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aimed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to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strenghten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resilience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so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hat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person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an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recover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best as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possible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from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the stress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and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setbacks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aused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by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a major, or a serie of, event(s). </a:t>
            </a:r>
          </a:p>
          <a:p>
            <a:pPr marL="0" indent="0">
              <a:buNone/>
            </a:pPr>
            <a:endParaRPr lang="nl-NL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ho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: a form of peer support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by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and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Red Cross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olleagues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0" indent="0">
              <a:buNone/>
            </a:pPr>
            <a:endParaRPr lang="nl-NL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here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: Through a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national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ide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number</a:t>
            </a:r>
            <a:endParaRPr lang="nl-NL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nl-NL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ethodology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: Peer support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focus o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onnecting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ith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the pers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Recognition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of the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situation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and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impact on the pers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Identifying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the next steps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hat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the person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can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undertake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including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offering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information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about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support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within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the NLRC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and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elsewhere</a:t>
            </a:r>
            <a:r>
              <a:rPr lang="nl-NL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endParaRPr lang="nl-NL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l-NL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5413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8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ndertitel 6"/>
          <p:cNvSpPr>
            <a:spLocks noGrp="1"/>
          </p:cNvSpPr>
          <p:nvPr>
            <p:ph type="subTitle" idx="1"/>
          </p:nvPr>
        </p:nvSpPr>
        <p:spPr>
          <a:xfrm>
            <a:off x="90488" y="1663700"/>
            <a:ext cx="5751512" cy="12700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 err="1">
                <a:solidFill>
                  <a:schemeClr val="bg1"/>
                </a:solidFill>
              </a:rPr>
              <a:t>Self</a:t>
            </a:r>
            <a:r>
              <a:rPr lang="nl-NL" dirty="0">
                <a:solidFill>
                  <a:schemeClr val="bg1"/>
                </a:solidFill>
              </a:rPr>
              <a:t> care plan, </a:t>
            </a:r>
            <a:r>
              <a:rPr lang="nl-NL" dirty="0" err="1">
                <a:solidFill>
                  <a:schemeClr val="bg1"/>
                </a:solidFill>
              </a:rPr>
              <a:t>followed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by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example</a:t>
            </a:r>
            <a:r>
              <a:rPr lang="nl-NL" dirty="0">
                <a:solidFill>
                  <a:schemeClr val="bg1"/>
                </a:solidFill>
              </a:rPr>
              <a:t> of the </a:t>
            </a:r>
            <a:r>
              <a:rPr lang="nl-NL" dirty="0" err="1">
                <a:solidFill>
                  <a:schemeClr val="bg1"/>
                </a:solidFill>
              </a:rPr>
              <a:t>Flamish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Belgian</a:t>
            </a:r>
            <a:r>
              <a:rPr lang="nl-NL" dirty="0">
                <a:solidFill>
                  <a:schemeClr val="bg1"/>
                </a:solidFill>
              </a:rPr>
              <a:t> RC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>
                <a:solidFill>
                  <a:schemeClr val="bg1"/>
                </a:solidFill>
              </a:rPr>
              <a:t>Workshops </a:t>
            </a:r>
            <a:r>
              <a:rPr lang="nl-NL" dirty="0" err="1">
                <a:solidFill>
                  <a:schemeClr val="bg1"/>
                </a:solidFill>
              </a:rPr>
              <a:t>and</a:t>
            </a:r>
            <a:r>
              <a:rPr lang="nl-NL" dirty="0">
                <a:solidFill>
                  <a:schemeClr val="bg1"/>
                </a:solidFill>
              </a:rPr>
              <a:t> information </a:t>
            </a:r>
            <a:r>
              <a:rPr lang="nl-NL" dirty="0" err="1">
                <a:solidFill>
                  <a:schemeClr val="bg1"/>
                </a:solidFill>
              </a:rPr>
              <a:t>sharing</a:t>
            </a:r>
            <a:r>
              <a:rPr lang="nl-NL" dirty="0">
                <a:solidFill>
                  <a:schemeClr val="bg1"/>
                </a:solidFill>
              </a:rPr>
              <a:t> as part of </a:t>
            </a:r>
            <a:r>
              <a:rPr lang="nl-NL" dirty="0" err="1">
                <a:solidFill>
                  <a:schemeClr val="bg1"/>
                </a:solidFill>
              </a:rPr>
              <a:t>trainings</a:t>
            </a:r>
            <a:r>
              <a:rPr lang="nl-NL" dirty="0">
                <a:solidFill>
                  <a:schemeClr val="bg1"/>
                </a:solidFill>
              </a:rPr>
              <a:t>, </a:t>
            </a:r>
            <a:r>
              <a:rPr lang="nl-NL" dirty="0" err="1">
                <a:solidFill>
                  <a:schemeClr val="bg1"/>
                </a:solidFill>
              </a:rPr>
              <a:t>gatherings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and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intervision</a:t>
            </a:r>
            <a:r>
              <a:rPr lang="nl-NL" dirty="0">
                <a:solidFill>
                  <a:schemeClr val="bg1"/>
                </a:solidFill>
              </a:rPr>
              <a:t> </a:t>
            </a:r>
            <a:r>
              <a:rPr lang="nl-NL" dirty="0" err="1">
                <a:solidFill>
                  <a:schemeClr val="bg1"/>
                </a:solidFill>
              </a:rPr>
              <a:t>sessions</a:t>
            </a:r>
            <a:endParaRPr lang="nl-NL" dirty="0">
              <a:solidFill>
                <a:schemeClr val="bg1"/>
              </a:solidFill>
            </a:endParaRPr>
          </a:p>
          <a:p>
            <a:endParaRPr lang="nl-NL" dirty="0">
              <a:solidFill>
                <a:schemeClr val="bg1"/>
              </a:solidFill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190500" y="333375"/>
            <a:ext cx="5651500" cy="830444"/>
          </a:xfrm>
        </p:spPr>
        <p:txBody>
          <a:bodyPr/>
          <a:lstStyle/>
          <a:p>
            <a:r>
              <a:rPr lang="nl-NL" sz="3200" dirty="0">
                <a:solidFill>
                  <a:schemeClr val="bg1"/>
                </a:solidFill>
              </a:rPr>
              <a:t>3.2 </a:t>
            </a:r>
            <a:r>
              <a:rPr lang="en-US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engthening resilience of our help givers: </a:t>
            </a:r>
            <a:r>
              <a:rPr lang="nl-NL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lf</a:t>
            </a:r>
            <a:r>
              <a:rPr lang="nl-NL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are</a:t>
            </a:r>
            <a:r>
              <a:rPr lang="nl-NL" sz="3200" dirty="0"/>
              <a:t>	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5567CEAF-7337-8011-0DB5-DCE39C12A20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703" t="17556" r="67417" b="5704"/>
          <a:stretch/>
        </p:blipFill>
        <p:spPr>
          <a:xfrm>
            <a:off x="6815579" y="0"/>
            <a:ext cx="4944344" cy="6749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3968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C89D30BC-A079-B681-B7AE-2BEE7D5C9D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92313" y="336965"/>
            <a:ext cx="8316912" cy="830444"/>
          </a:xfrm>
        </p:spPr>
        <p:txBody>
          <a:bodyPr vert="horz" lIns="68580" tIns="34290" rIns="68580" bIns="34290" rtlCol="0" anchor="t">
            <a:normAutofit fontScale="90000"/>
          </a:bodyPr>
          <a:lstStyle/>
          <a:p>
            <a:pPr algn="ctr">
              <a:spcBef>
                <a:spcPct val="0"/>
              </a:spcBef>
            </a:pPr>
            <a:r>
              <a:rPr lang="en-US" sz="3200" dirty="0">
                <a:solidFill>
                  <a:schemeClr val="accent1"/>
                </a:solidFill>
              </a:rPr>
              <a:t>3.3 </a:t>
            </a:r>
            <a:r>
              <a:rPr lang="nl-NL" sz="3600" dirty="0" err="1">
                <a:solidFill>
                  <a:schemeClr val="accent1"/>
                </a:solidFill>
              </a:rPr>
              <a:t>Pillar</a:t>
            </a:r>
            <a:r>
              <a:rPr lang="nl-NL" sz="3600" dirty="0">
                <a:solidFill>
                  <a:schemeClr val="accent1"/>
                </a:solidFill>
              </a:rPr>
              <a:t> 3</a:t>
            </a:r>
            <a:r>
              <a:rPr lang="nl-NL" sz="3600" dirty="0"/>
              <a:t> </a:t>
            </a:r>
            <a:br>
              <a:rPr lang="nl-NL" sz="3600" dirty="0"/>
            </a:br>
            <a:r>
              <a:rPr lang="en-US" sz="36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engthening the resilience of our help givers: After care for NLRC help providers </a:t>
            </a:r>
            <a:endParaRPr lang="en-US" sz="3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Slide Number Placeholder 3">
            <a:extLst>
              <a:ext uri="{FF2B5EF4-FFF2-40B4-BE49-F238E27FC236}">
                <a16:creationId xmlns:a16="http://schemas.microsoft.com/office/drawing/2014/main" id="{767264E7-B006-ECDE-E919-8DB8940F0E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48000" y="6498000"/>
            <a:ext cx="361225" cy="216000"/>
          </a:xfrm>
        </p:spPr>
        <p:txBody>
          <a:bodyPr/>
          <a:lstStyle/>
          <a:p>
            <a:pPr>
              <a:spcAft>
                <a:spcPts val="600"/>
              </a:spcAft>
            </a:pPr>
            <a:fld id="{4023FC5B-98A5-49E4-B59C-E073B8952154}" type="slidenum">
              <a:rPr lang="nl-NL" smtClean="0"/>
              <a:pPr>
                <a:spcAft>
                  <a:spcPts val="600"/>
                </a:spcAft>
              </a:pPr>
              <a:t>23</a:t>
            </a:fld>
            <a:endParaRPr lang="nl-NL"/>
          </a:p>
        </p:txBody>
      </p:sp>
      <p:graphicFrame>
        <p:nvGraphicFramePr>
          <p:cNvPr id="9" name="Tijdelijke aanduiding voor inhoud 2">
            <a:extLst>
              <a:ext uri="{FF2B5EF4-FFF2-40B4-BE49-F238E27FC236}">
                <a16:creationId xmlns:a16="http://schemas.microsoft.com/office/drawing/2014/main" id="{AD1E0B22-48B0-7E4C-B0D6-A7E0F7DDBD7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59828552"/>
              </p:ext>
            </p:extLst>
          </p:nvPr>
        </p:nvGraphicFramePr>
        <p:xfrm>
          <a:off x="1504634" y="2008234"/>
          <a:ext cx="8804591" cy="44897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5C447A74-725A-4D55-617F-61C0EE44A3C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948000" y="7020000"/>
            <a:ext cx="361225" cy="216000"/>
          </a:xfrm>
        </p:spPr>
        <p:txBody>
          <a:bodyPr/>
          <a:lstStyle/>
          <a:p>
            <a:pPr>
              <a:spcAft>
                <a:spcPts val="450"/>
              </a:spcAft>
            </a:pPr>
            <a:fld id="{4023FC5B-98A5-49E4-B59C-E073B8952154}" type="slidenum">
              <a:rPr lang="nl-NL" smtClean="0"/>
              <a:pPr>
                <a:spcAft>
                  <a:spcPts val="450"/>
                </a:spcAft>
              </a:pPr>
              <a:t>2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165566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ndertitel 1">
            <a:extLst>
              <a:ext uri="{FF2B5EF4-FFF2-40B4-BE49-F238E27FC236}">
                <a16:creationId xmlns:a16="http://schemas.microsoft.com/office/drawing/2014/main" id="{BEA1409C-9ECC-FFF5-6ED8-82A94529527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0C131217-D290-FAE2-B8F5-AE0CC60253F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D79339EB-977D-28A5-E8D0-6FC73519F01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 hidden="1">
            <a:extLst>
              <a:ext uri="{FF2B5EF4-FFF2-40B4-BE49-F238E27FC236}">
                <a16:creationId xmlns:a16="http://schemas.microsoft.com/office/drawing/2014/main" id="{2DF9E521-E65C-16B8-B897-0445121537B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4023FC5B-98A5-49E4-B59C-E073B8952154}" type="slidenum">
              <a:rPr lang="nl-NL" smtClean="0"/>
              <a:pPr>
                <a:spcAft>
                  <a:spcPts val="600"/>
                </a:spcAft>
              </a:pPr>
              <a:t>24</a:t>
            </a:fld>
            <a:endParaRPr lang="nl-NL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38F75D0-5248-8C5B-D922-4E1DD95732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 fontScale="90000"/>
          </a:bodyPr>
          <a:lstStyle/>
          <a:p>
            <a:r>
              <a:rPr lang="nl-NL" dirty="0" err="1"/>
              <a:t>Other</a:t>
            </a:r>
            <a:r>
              <a:rPr lang="nl-NL" dirty="0"/>
              <a:t> </a:t>
            </a:r>
            <a:r>
              <a:rPr lang="nl-NL" dirty="0" err="1"/>
              <a:t>current</a:t>
            </a:r>
            <a:r>
              <a:rPr lang="nl-NL" dirty="0"/>
              <a:t> PSS </a:t>
            </a:r>
            <a:r>
              <a:rPr lang="nl-NL" dirty="0" err="1"/>
              <a:t>activities</a:t>
            </a:r>
            <a:r>
              <a:rPr lang="nl-NL" dirty="0"/>
              <a:t> </a:t>
            </a:r>
            <a:br>
              <a:rPr lang="nl-NL" dirty="0"/>
            </a:br>
            <a:r>
              <a:rPr lang="nl-NL" dirty="0"/>
              <a:t>(apart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interventions</a:t>
            </a:r>
            <a:r>
              <a:rPr lang="nl-NL" dirty="0"/>
              <a:t>)</a:t>
            </a:r>
          </a:p>
        </p:txBody>
      </p:sp>
      <p:sp>
        <p:nvSpPr>
          <p:cNvPr id="9" name="Tijdelijke aanduiding voor inhoud 8">
            <a:extLst>
              <a:ext uri="{FF2B5EF4-FFF2-40B4-BE49-F238E27FC236}">
                <a16:creationId xmlns:a16="http://schemas.microsoft.com/office/drawing/2014/main" id="{EA508E14-C2D6-CC58-E2FA-DF303F1E38A2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nl-NL" dirty="0" err="1"/>
              <a:t>Consultation</a:t>
            </a:r>
            <a:r>
              <a:rPr lang="nl-NL" dirty="0"/>
              <a:t> </a:t>
            </a:r>
            <a:r>
              <a:rPr lang="nl-NL" dirty="0" err="1"/>
              <a:t>group</a:t>
            </a:r>
            <a:r>
              <a:rPr lang="nl-NL" dirty="0"/>
              <a:t> </a:t>
            </a:r>
            <a:r>
              <a:rPr lang="nl-NL" dirty="0" err="1"/>
              <a:t>existing</a:t>
            </a:r>
            <a:r>
              <a:rPr lang="nl-NL" dirty="0"/>
              <a:t> of district managers, </a:t>
            </a:r>
            <a:r>
              <a:rPr lang="nl-NL" dirty="0" err="1"/>
              <a:t>coordinators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volunteers</a:t>
            </a:r>
            <a:endParaRPr lang="nl-NL" dirty="0"/>
          </a:p>
          <a:p>
            <a:r>
              <a:rPr lang="nl-NL" dirty="0" err="1"/>
              <a:t>Initiating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facilitating</a:t>
            </a:r>
            <a:r>
              <a:rPr lang="nl-NL" dirty="0"/>
              <a:t> </a:t>
            </a:r>
            <a:r>
              <a:rPr lang="nl-NL" dirty="0" err="1"/>
              <a:t>intervision</a:t>
            </a:r>
            <a:r>
              <a:rPr lang="nl-NL" dirty="0"/>
              <a:t> </a:t>
            </a:r>
            <a:r>
              <a:rPr lang="nl-NL" dirty="0" err="1"/>
              <a:t>reflection</a:t>
            </a:r>
            <a:r>
              <a:rPr lang="nl-NL" dirty="0"/>
              <a:t> meetings </a:t>
            </a:r>
            <a:r>
              <a:rPr lang="nl-NL" dirty="0" err="1"/>
              <a:t>within</a:t>
            </a:r>
            <a:r>
              <a:rPr lang="nl-NL" dirty="0"/>
              <a:t> the National Support </a:t>
            </a:r>
            <a:r>
              <a:rPr lang="nl-NL" dirty="0" err="1"/>
              <a:t>department</a:t>
            </a:r>
            <a:endParaRPr lang="nl-NL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067029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1">
            <a:extLst>
              <a:ext uri="{FF2B5EF4-FFF2-40B4-BE49-F238E27FC236}">
                <a16:creationId xmlns:a16="http://schemas.microsoft.com/office/drawing/2014/main" id="{59D842AA-30A9-3560-449C-DE273769AE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5938" y="1177200"/>
            <a:ext cx="5580062" cy="64800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nl-NL" err="1"/>
              <a:t>during</a:t>
            </a:r>
            <a:r>
              <a:rPr lang="nl-NL"/>
              <a:t> COVID19 </a:t>
            </a:r>
            <a:endParaRPr lang="en-US"/>
          </a:p>
        </p:txBody>
      </p:sp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24E1D730-D1BC-CF34-24AD-3011CFA6AE4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15938" y="2051999"/>
            <a:ext cx="5580062" cy="3464564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endParaRPr lang="nl-NL" sz="1600"/>
          </a:p>
          <a:p>
            <a:pPr marL="0" indent="0">
              <a:lnSpc>
                <a:spcPct val="90000"/>
              </a:lnSpc>
              <a:buNone/>
            </a:pPr>
            <a:r>
              <a:rPr lang="nl-NL" sz="1600"/>
              <a:t>4.1 Development of Pilot ‘</a:t>
            </a:r>
            <a:r>
              <a:rPr lang="nl-NL" sz="1600" err="1"/>
              <a:t>Looking</a:t>
            </a:r>
            <a:r>
              <a:rPr lang="nl-NL" sz="1600"/>
              <a:t> </a:t>
            </a:r>
            <a:r>
              <a:rPr lang="nl-NL" sz="1600" err="1"/>
              <a:t>after</a:t>
            </a:r>
            <a:r>
              <a:rPr lang="nl-NL" sz="1600"/>
              <a:t> </a:t>
            </a:r>
            <a:r>
              <a:rPr lang="nl-NL" sz="1600" err="1"/>
              <a:t>another</a:t>
            </a:r>
            <a:r>
              <a:rPr lang="nl-NL" sz="1600"/>
              <a:t>’ </a:t>
            </a:r>
            <a:r>
              <a:rPr lang="nl-NL" sz="1600" err="1"/>
              <a:t>network</a:t>
            </a:r>
            <a:r>
              <a:rPr lang="nl-NL" sz="1600"/>
              <a:t> </a:t>
            </a:r>
            <a:r>
              <a:rPr lang="nl-NL" sz="1600" err="1"/>
              <a:t>for</a:t>
            </a:r>
            <a:r>
              <a:rPr lang="nl-NL" sz="1600"/>
              <a:t> </a:t>
            </a:r>
            <a:r>
              <a:rPr lang="nl-NL" sz="1600" err="1"/>
              <a:t>people</a:t>
            </a:r>
            <a:r>
              <a:rPr lang="nl-NL" sz="1600"/>
              <a:t> </a:t>
            </a:r>
            <a:r>
              <a:rPr lang="nl-NL" sz="1600" err="1"/>
              <a:t>with</a:t>
            </a:r>
            <a:r>
              <a:rPr lang="nl-NL" sz="1600"/>
              <a:t> multiple </a:t>
            </a:r>
            <a:r>
              <a:rPr lang="nl-NL" sz="1600" err="1"/>
              <a:t>needs</a:t>
            </a:r>
            <a:r>
              <a:rPr lang="nl-NL" sz="1600"/>
              <a:t>, </a:t>
            </a:r>
            <a:r>
              <a:rPr lang="nl-NL" sz="1600" err="1"/>
              <a:t>providing</a:t>
            </a:r>
            <a:r>
              <a:rPr lang="nl-NL" sz="1600"/>
              <a:t> PSS support </a:t>
            </a:r>
            <a:r>
              <a:rPr lang="nl-NL" sz="1600" err="1"/>
              <a:t>through</a:t>
            </a:r>
            <a:r>
              <a:rPr lang="nl-NL" sz="1600"/>
              <a:t> </a:t>
            </a:r>
            <a:r>
              <a:rPr lang="nl-NL" sz="1600" err="1"/>
              <a:t>skilled</a:t>
            </a:r>
            <a:r>
              <a:rPr lang="nl-NL" sz="1600"/>
              <a:t> ‘quarantaine’ coaches (2019-2020)</a:t>
            </a:r>
          </a:p>
          <a:p>
            <a:pPr marL="0" indent="0">
              <a:lnSpc>
                <a:spcPct val="90000"/>
              </a:lnSpc>
              <a:buNone/>
            </a:pPr>
            <a:endParaRPr lang="nl-NL" sz="1600"/>
          </a:p>
          <a:p>
            <a:pPr marL="0" indent="0">
              <a:lnSpc>
                <a:spcPct val="90000"/>
              </a:lnSpc>
              <a:buNone/>
            </a:pPr>
            <a:r>
              <a:rPr lang="nl-NL" sz="1600"/>
              <a:t>4.2 WhatsApp </a:t>
            </a:r>
            <a:r>
              <a:rPr lang="nl-NL" sz="1600" err="1"/>
              <a:t>Helplines</a:t>
            </a:r>
            <a:r>
              <a:rPr lang="nl-NL" sz="1600"/>
              <a:t> in multiple </a:t>
            </a:r>
            <a:r>
              <a:rPr lang="nl-NL" sz="1600" err="1"/>
              <a:t>languages</a:t>
            </a:r>
            <a:r>
              <a:rPr lang="nl-NL" sz="1600"/>
              <a:t> </a:t>
            </a:r>
            <a:r>
              <a:rPr lang="nl-NL" sz="1600" err="1"/>
              <a:t>for</a:t>
            </a:r>
            <a:r>
              <a:rPr lang="nl-NL" sz="1600"/>
              <a:t> migrant (</a:t>
            </a:r>
            <a:r>
              <a:rPr lang="nl-NL" sz="1600" err="1"/>
              <a:t>communities</a:t>
            </a:r>
            <a:r>
              <a:rPr lang="nl-NL" sz="1600"/>
              <a:t>) in the Netherlands, </a:t>
            </a:r>
            <a:r>
              <a:rPr lang="nl-NL" sz="1600" err="1"/>
              <a:t>including</a:t>
            </a:r>
            <a:r>
              <a:rPr lang="nl-NL" sz="1600"/>
              <a:t> Portugese, Arabisch, </a:t>
            </a:r>
            <a:r>
              <a:rPr lang="nl-NL" sz="1600" err="1"/>
              <a:t>Maroccan</a:t>
            </a:r>
            <a:r>
              <a:rPr lang="nl-NL" sz="1600"/>
              <a:t>, </a:t>
            </a:r>
            <a:r>
              <a:rPr lang="nl-NL" sz="1600" err="1"/>
              <a:t>Turkish</a:t>
            </a:r>
            <a:r>
              <a:rPr lang="nl-NL" sz="1600"/>
              <a:t> </a:t>
            </a:r>
            <a:r>
              <a:rPr lang="nl-NL" sz="1600" err="1"/>
              <a:t>and</a:t>
            </a:r>
            <a:r>
              <a:rPr lang="nl-NL" sz="1600"/>
              <a:t> Chinese (2019-2020)</a:t>
            </a:r>
          </a:p>
          <a:p>
            <a:pPr marL="0" indent="0">
              <a:lnSpc>
                <a:spcPct val="90000"/>
              </a:lnSpc>
              <a:buNone/>
            </a:pPr>
            <a:endParaRPr lang="nl-NL" sz="1600"/>
          </a:p>
          <a:p>
            <a:pPr marL="0" indent="0">
              <a:lnSpc>
                <a:spcPct val="90000"/>
              </a:lnSpc>
              <a:buNone/>
            </a:pPr>
            <a:r>
              <a:rPr lang="nl-NL" sz="1600"/>
              <a:t>4.3 </a:t>
            </a:r>
            <a:r>
              <a:rPr lang="nl-NL" sz="1600" err="1"/>
              <a:t>Referring</a:t>
            </a:r>
            <a:r>
              <a:rPr lang="nl-NL" sz="1600"/>
              <a:t> </a:t>
            </a:r>
            <a:r>
              <a:rPr lang="nl-NL" sz="1600" err="1"/>
              <a:t>young</a:t>
            </a:r>
            <a:r>
              <a:rPr lang="nl-NL" sz="1600"/>
              <a:t> </a:t>
            </a:r>
            <a:r>
              <a:rPr lang="nl-NL" sz="1600" err="1"/>
              <a:t>people</a:t>
            </a:r>
            <a:r>
              <a:rPr lang="nl-NL" sz="1600"/>
              <a:t> </a:t>
            </a:r>
            <a:r>
              <a:rPr lang="nl-NL" sz="1600" err="1"/>
              <a:t>with</a:t>
            </a:r>
            <a:r>
              <a:rPr lang="nl-NL" sz="1600"/>
              <a:t> PSS </a:t>
            </a:r>
            <a:r>
              <a:rPr lang="nl-NL" sz="1600" err="1"/>
              <a:t>needs</a:t>
            </a:r>
            <a:r>
              <a:rPr lang="nl-NL" sz="1600"/>
              <a:t> to </a:t>
            </a:r>
            <a:r>
              <a:rPr lang="nl-NL" sz="1600" err="1"/>
              <a:t>formal</a:t>
            </a:r>
            <a:r>
              <a:rPr lang="nl-NL" sz="1600"/>
              <a:t> care </a:t>
            </a:r>
            <a:r>
              <a:rPr lang="nl-NL" sz="1600" err="1"/>
              <a:t>givers</a:t>
            </a:r>
            <a:r>
              <a:rPr lang="nl-NL" sz="1600"/>
              <a:t> (2019-2020)</a:t>
            </a:r>
          </a:p>
        </p:txBody>
      </p:sp>
      <p:pic>
        <p:nvPicPr>
          <p:cNvPr id="10" name="Afbeelding 9" descr="Afbeelding met Menselijk gezicht, persoon, bril, meisje&#10;&#10;Automatisch gegenereerde beschrijving">
            <a:extLst>
              <a:ext uri="{FF2B5EF4-FFF2-40B4-BE49-F238E27FC236}">
                <a16:creationId xmlns:a16="http://schemas.microsoft.com/office/drawing/2014/main" id="{D782D552-8FD5-4F78-EFB0-2DFAEA467F4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86" r="39813" b="-1"/>
          <a:stretch/>
        </p:blipFill>
        <p:spPr>
          <a:xfrm>
            <a:off x="6564312" y="10"/>
            <a:ext cx="5627131" cy="6857990"/>
          </a:xfrm>
          <a:prstGeom prst="rect">
            <a:avLst/>
          </a:prstGeom>
          <a:noFill/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504798C2-A2C0-AD1D-16B0-82379980C5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33375"/>
            <a:ext cx="5580062" cy="830444"/>
          </a:xfrm>
        </p:spPr>
        <p:txBody>
          <a:bodyPr anchor="t">
            <a:normAutofit/>
          </a:bodyPr>
          <a:lstStyle/>
          <a:p>
            <a:r>
              <a:rPr lang="nl-NL" sz="2600"/>
              <a:t>4. </a:t>
            </a:r>
            <a:r>
              <a:rPr lang="nl-NL" sz="2600" err="1"/>
              <a:t>Overview</a:t>
            </a:r>
            <a:r>
              <a:rPr lang="nl-NL" sz="2600"/>
              <a:t> of past PSS  </a:t>
            </a:r>
            <a:r>
              <a:rPr lang="nl-NL" sz="2600" err="1"/>
              <a:t>interventions</a:t>
            </a:r>
            <a:r>
              <a:rPr lang="nl-NL" sz="2600"/>
              <a:t> 2019- 2020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CE4275F-0A01-03F0-7E82-A7DCCB8D3C9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4023FC5B-98A5-49E4-B59C-E073B8952154}" type="slidenum">
              <a:rPr lang="nl-NL" smtClean="0"/>
              <a:pPr>
                <a:spcAft>
                  <a:spcPts val="600"/>
                </a:spcAft>
              </a:pPr>
              <a:t>2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293415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inhoud 7">
            <a:extLst>
              <a:ext uri="{FF2B5EF4-FFF2-40B4-BE49-F238E27FC236}">
                <a16:creationId xmlns:a16="http://schemas.microsoft.com/office/drawing/2014/main" id="{24E1D730-D1BC-CF34-24AD-3011CFA6AE4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 fontScale="92500" lnSpcReduction="10000"/>
          </a:bodyPr>
          <a:lstStyle/>
          <a:p>
            <a:endParaRPr lang="nl-NL" dirty="0"/>
          </a:p>
          <a:p>
            <a:pPr marL="0" indent="0">
              <a:buNone/>
            </a:pPr>
            <a:r>
              <a:rPr lang="nl-NL" dirty="0"/>
              <a:t>4.1 </a:t>
            </a:r>
            <a:r>
              <a:rPr lang="nl-NL" dirty="0" err="1"/>
              <a:t>Think</a:t>
            </a:r>
            <a:r>
              <a:rPr lang="nl-NL" dirty="0"/>
              <a:t> Tank ‘</a:t>
            </a:r>
            <a:r>
              <a:rPr lang="nl-NL" dirty="0" err="1"/>
              <a:t>Mental</a:t>
            </a:r>
            <a:r>
              <a:rPr lang="nl-NL" dirty="0"/>
              <a:t> Wellbeing of </a:t>
            </a:r>
            <a:r>
              <a:rPr lang="nl-NL" dirty="0" err="1"/>
              <a:t>young</a:t>
            </a:r>
            <a:r>
              <a:rPr lang="nl-NL" dirty="0"/>
              <a:t> </a:t>
            </a:r>
            <a:r>
              <a:rPr lang="nl-NL" dirty="0" err="1"/>
              <a:t>adults</a:t>
            </a:r>
            <a:r>
              <a:rPr lang="nl-NL" dirty="0"/>
              <a:t>’ to research the PSS </a:t>
            </a:r>
            <a:r>
              <a:rPr lang="nl-NL" dirty="0" err="1"/>
              <a:t>needs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possible</a:t>
            </a:r>
            <a:r>
              <a:rPr lang="nl-NL" dirty="0"/>
              <a:t> </a:t>
            </a:r>
            <a:r>
              <a:rPr lang="nl-NL" dirty="0" err="1"/>
              <a:t>solutions</a:t>
            </a:r>
            <a:r>
              <a:rPr lang="nl-NL" dirty="0"/>
              <a:t> of </a:t>
            </a:r>
            <a:r>
              <a:rPr lang="nl-NL" dirty="0" err="1"/>
              <a:t>young</a:t>
            </a:r>
            <a:r>
              <a:rPr lang="nl-NL" dirty="0"/>
              <a:t> </a:t>
            </a:r>
            <a:r>
              <a:rPr lang="nl-NL" dirty="0" err="1"/>
              <a:t>adults</a:t>
            </a:r>
            <a:r>
              <a:rPr lang="nl-NL" dirty="0"/>
              <a:t> </a:t>
            </a:r>
            <a:r>
              <a:rPr lang="nl-NL" dirty="0" err="1"/>
              <a:t>between</a:t>
            </a:r>
            <a:r>
              <a:rPr lang="nl-NL" dirty="0"/>
              <a:t> 18 </a:t>
            </a:r>
            <a:r>
              <a:rPr lang="nl-NL" dirty="0" err="1"/>
              <a:t>and</a:t>
            </a:r>
            <a:r>
              <a:rPr lang="nl-NL" dirty="0"/>
              <a:t> 27 </a:t>
            </a:r>
            <a:r>
              <a:rPr lang="nl-NL" dirty="0" err="1"/>
              <a:t>years</a:t>
            </a:r>
            <a:r>
              <a:rPr lang="nl-NL" dirty="0"/>
              <a:t> (2020-2021)</a:t>
            </a:r>
          </a:p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r>
              <a:rPr lang="nl-NL" dirty="0"/>
              <a:t>4.2 Pilot project ‘</a:t>
            </a:r>
            <a:r>
              <a:rPr lang="nl-NL" dirty="0" err="1"/>
              <a:t>Perspective</a:t>
            </a:r>
            <a:r>
              <a:rPr lang="nl-NL" dirty="0"/>
              <a:t>’ to offer </a:t>
            </a:r>
            <a:r>
              <a:rPr lang="nl-NL" dirty="0" err="1"/>
              <a:t>young</a:t>
            </a:r>
            <a:r>
              <a:rPr lang="nl-NL" dirty="0"/>
              <a:t> </a:t>
            </a:r>
            <a:r>
              <a:rPr lang="nl-NL" dirty="0" err="1"/>
              <a:t>adults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deprived</a:t>
            </a:r>
            <a:r>
              <a:rPr lang="nl-NL" dirty="0"/>
              <a:t> </a:t>
            </a:r>
            <a:r>
              <a:rPr lang="nl-NL" dirty="0" err="1"/>
              <a:t>social-economical</a:t>
            </a:r>
            <a:r>
              <a:rPr lang="nl-NL" dirty="0"/>
              <a:t> </a:t>
            </a:r>
            <a:r>
              <a:rPr lang="nl-NL" dirty="0" err="1"/>
              <a:t>backgrounds</a:t>
            </a:r>
            <a:r>
              <a:rPr lang="nl-NL" dirty="0"/>
              <a:t>  a stage </a:t>
            </a:r>
            <a:r>
              <a:rPr lang="nl-NL" dirty="0" err="1"/>
              <a:t>within</a:t>
            </a:r>
            <a:r>
              <a:rPr lang="nl-NL" dirty="0"/>
              <a:t> the NLRC (2020-2021)</a:t>
            </a:r>
          </a:p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r>
              <a:rPr lang="nl-NL" dirty="0"/>
              <a:t>4.3 Pilot project ‘</a:t>
            </a:r>
            <a:r>
              <a:rPr lang="nl-NL" dirty="0" err="1"/>
              <a:t>Team-Up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children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deprived</a:t>
            </a:r>
            <a:r>
              <a:rPr lang="nl-NL" dirty="0"/>
              <a:t> </a:t>
            </a:r>
            <a:r>
              <a:rPr lang="nl-NL" dirty="0" err="1"/>
              <a:t>social-economical</a:t>
            </a:r>
            <a:r>
              <a:rPr lang="nl-NL" dirty="0"/>
              <a:t> migrant </a:t>
            </a:r>
            <a:r>
              <a:rPr lang="nl-NL" dirty="0" err="1"/>
              <a:t>backgrounds</a:t>
            </a:r>
            <a:r>
              <a:rPr lang="nl-NL" dirty="0"/>
              <a:t> in Rotterdam (2020-2021)</a:t>
            </a:r>
          </a:p>
        </p:txBody>
      </p:sp>
      <p:pic>
        <p:nvPicPr>
          <p:cNvPr id="11" name="Tijdelijke aanduiding voor afbeelding 10" descr="Afbeelding met persoon, Menselijk gezicht, overdekt, glimlach&#10;&#10;Automatisch gegenereerde beschrijving">
            <a:extLst>
              <a:ext uri="{FF2B5EF4-FFF2-40B4-BE49-F238E27FC236}">
                <a16:creationId xmlns:a16="http://schemas.microsoft.com/office/drawing/2014/main" id="{DE672F7E-7C5E-A780-58D1-2FA052175C4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76" r="19176"/>
          <a:stretch>
            <a:fillRect/>
          </a:stretch>
        </p:blipFill>
        <p:spPr/>
      </p:pic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CE4275F-0A01-03F0-7E82-A7DCCB8D3C9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023FC5B-98A5-49E4-B59C-E073B8952154}" type="slidenum">
              <a:rPr lang="nl-NL" smtClean="0"/>
              <a:pPr/>
              <a:t>26</a:t>
            </a:fld>
            <a:endParaRPr lang="nl-NL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04798C2-A2C0-AD1D-16B0-82379980C5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3200" dirty="0">
                <a:solidFill>
                  <a:schemeClr val="accent1"/>
                </a:solidFill>
              </a:rPr>
              <a:t>4. </a:t>
            </a:r>
            <a:r>
              <a:rPr lang="nl-NL" sz="3200" dirty="0" err="1">
                <a:solidFill>
                  <a:schemeClr val="accent1"/>
                </a:solidFill>
              </a:rPr>
              <a:t>Overview</a:t>
            </a:r>
            <a:r>
              <a:rPr lang="nl-NL" sz="3200" dirty="0">
                <a:solidFill>
                  <a:schemeClr val="accent1"/>
                </a:solidFill>
              </a:rPr>
              <a:t> of past PSS </a:t>
            </a:r>
            <a:r>
              <a:rPr lang="nl-NL" sz="3200" dirty="0" err="1">
                <a:solidFill>
                  <a:schemeClr val="accent1"/>
                </a:solidFill>
              </a:rPr>
              <a:t>interventions</a:t>
            </a:r>
            <a:r>
              <a:rPr lang="nl-NL" sz="3200" dirty="0">
                <a:solidFill>
                  <a:schemeClr val="accent1"/>
                </a:solidFill>
              </a:rPr>
              <a:t> 2020 - 2021 </a:t>
            </a:r>
          </a:p>
        </p:txBody>
      </p:sp>
    </p:spTree>
    <p:extLst>
      <p:ext uri="{BB962C8B-B14F-4D97-AF65-F5344CB8AC3E}">
        <p14:creationId xmlns:p14="http://schemas.microsoft.com/office/powerpoint/2010/main" val="154009494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2541E6BD-E639-9420-F4EA-F2BF9250AF36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nl-NL" dirty="0"/>
              <a:t>Skip the corona dip</a:t>
            </a:r>
          </a:p>
          <a:p>
            <a:r>
              <a:rPr lang="nl-NL" dirty="0"/>
              <a:t>Video Stress &amp; </a:t>
            </a:r>
            <a:r>
              <a:rPr lang="nl-NL" dirty="0" err="1"/>
              <a:t>Healthy</a:t>
            </a:r>
            <a:r>
              <a:rPr lang="nl-NL" dirty="0"/>
              <a:t> </a:t>
            </a:r>
            <a:r>
              <a:rPr lang="nl-NL" dirty="0" err="1"/>
              <a:t>habits</a:t>
            </a:r>
            <a:r>
              <a:rPr lang="nl-NL" dirty="0"/>
              <a:t> (</a:t>
            </a:r>
            <a:r>
              <a:rPr lang="nl-NL" dirty="0" err="1"/>
              <a:t>self</a:t>
            </a:r>
            <a:r>
              <a:rPr lang="nl-NL" dirty="0"/>
              <a:t> care </a:t>
            </a:r>
            <a:r>
              <a:rPr lang="nl-NL" dirty="0" err="1"/>
              <a:t>for</a:t>
            </a:r>
            <a:r>
              <a:rPr lang="nl-NL" dirty="0"/>
              <a:t> migrant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other</a:t>
            </a:r>
            <a:r>
              <a:rPr lang="nl-NL" dirty="0"/>
              <a:t> </a:t>
            </a:r>
            <a:r>
              <a:rPr lang="nl-NL" dirty="0" err="1"/>
              <a:t>people</a:t>
            </a:r>
            <a:r>
              <a:rPr lang="nl-NL" dirty="0"/>
              <a:t> in the Netherlands)</a:t>
            </a:r>
          </a:p>
          <a:p>
            <a:r>
              <a:rPr lang="nl-NL" dirty="0"/>
              <a:t>World </a:t>
            </a:r>
            <a:r>
              <a:rPr lang="nl-NL" dirty="0" err="1"/>
              <a:t>Mental</a:t>
            </a:r>
            <a:r>
              <a:rPr lang="nl-NL" dirty="0"/>
              <a:t> Health Day</a:t>
            </a:r>
          </a:p>
          <a:p>
            <a:r>
              <a:rPr lang="nl-NL" dirty="0"/>
              <a:t>Blue </a:t>
            </a:r>
            <a:r>
              <a:rPr lang="nl-NL" dirty="0" err="1"/>
              <a:t>Monday</a:t>
            </a:r>
            <a:endParaRPr lang="nl-NL" dirty="0"/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B3656965-CC7C-A097-7EAC-A3D7A5C5001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7D7008A-6406-4C9B-F3B5-C38F60A6BE8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4023FC5B-98A5-49E4-B59C-E073B8952154}" type="slidenum">
              <a:rPr lang="nl-NL" smtClean="0"/>
              <a:pPr/>
              <a:t>27</a:t>
            </a:fld>
            <a:endParaRPr lang="nl-NL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34C102B-2724-0CF6-B1F2-2262287887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5. </a:t>
            </a:r>
            <a:r>
              <a:rPr lang="nl-NL" dirty="0" err="1"/>
              <a:t>Overview</a:t>
            </a:r>
            <a:r>
              <a:rPr lang="nl-NL" dirty="0"/>
              <a:t> of </a:t>
            </a:r>
            <a:r>
              <a:rPr lang="nl-NL" dirty="0" err="1"/>
              <a:t>Campaigns</a:t>
            </a:r>
            <a:r>
              <a:rPr lang="nl-NL" dirty="0"/>
              <a:t> &amp; Video’s 2019-2023</a:t>
            </a:r>
          </a:p>
        </p:txBody>
      </p:sp>
    </p:spTree>
    <p:extLst>
      <p:ext uri="{BB962C8B-B14F-4D97-AF65-F5344CB8AC3E}">
        <p14:creationId xmlns:p14="http://schemas.microsoft.com/office/powerpoint/2010/main" val="297042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>
            <a:extLst>
              <a:ext uri="{FF2B5EF4-FFF2-40B4-BE49-F238E27FC236}">
                <a16:creationId xmlns:a16="http://schemas.microsoft.com/office/drawing/2014/main" id="{D88EB84B-014A-DF4F-7151-163BF56CE7E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3790" b="12691"/>
          <a:stretch/>
        </p:blipFill>
        <p:spPr>
          <a:xfrm>
            <a:off x="515938" y="1520825"/>
            <a:ext cx="11233150" cy="3995738"/>
          </a:xfrm>
          <a:prstGeom prst="rect">
            <a:avLst/>
          </a:prstGeom>
          <a:noFill/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991E86D-D220-C700-D826-6E4E41C85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33375"/>
            <a:ext cx="11233150" cy="830444"/>
          </a:xfrm>
        </p:spPr>
        <p:txBody>
          <a:bodyPr anchor="t">
            <a:normAutofit/>
          </a:bodyPr>
          <a:lstStyle/>
          <a:p>
            <a:r>
              <a:rPr lang="en-US" sz="2600" dirty="0"/>
              <a:t>Skip the corona dip campaign</a:t>
            </a:r>
            <a:br>
              <a:rPr lang="en-US" sz="2600" dirty="0"/>
            </a:br>
            <a:r>
              <a:rPr lang="en-US" sz="2600" dirty="0"/>
              <a:t>Winter December 2021</a:t>
            </a:r>
          </a:p>
        </p:txBody>
      </p: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93BFFB9F-92FF-3674-3812-D6A947BC18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32000" y="6498000"/>
            <a:ext cx="517088" cy="216000"/>
          </a:xfrm>
        </p:spPr>
        <p:txBody>
          <a:bodyPr/>
          <a:lstStyle/>
          <a:p>
            <a:pPr>
              <a:spcAft>
                <a:spcPts val="600"/>
              </a:spcAft>
            </a:pPr>
            <a:fld id="{4023FC5B-98A5-49E4-B59C-E073B8952154}" type="slidenum">
              <a:rPr lang="nl-NL" smtClean="0"/>
              <a:pPr>
                <a:spcAft>
                  <a:spcPts val="600"/>
                </a:spcAft>
              </a:pPr>
              <a:t>28</a:t>
            </a:fld>
            <a:endParaRPr lang="nl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97A03-7694-C471-2A78-776D0E542A9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pPr>
              <a:spcAft>
                <a:spcPts val="600"/>
              </a:spcAft>
            </a:pPr>
            <a:fld id="{4023FC5B-98A5-49E4-B59C-E073B8952154}" type="slidenum">
              <a:rPr lang="nl-NL" smtClean="0"/>
              <a:pPr>
                <a:spcAft>
                  <a:spcPts val="600"/>
                </a:spcAft>
              </a:pPr>
              <a:t>2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295301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Tijdelijke aanduiding voor afbeelding 5">
            <a:hlinkClick r:id="rId3"/>
            <a:extLst>
              <a:ext uri="{FF2B5EF4-FFF2-40B4-BE49-F238E27FC236}">
                <a16:creationId xmlns:a16="http://schemas.microsoft.com/office/drawing/2014/main" id="{88C5A000-C60A-27AD-8ECE-F41381BFB62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/>
          <a:srcRect t="200" b="200"/>
          <a:stretch/>
        </p:blipFill>
        <p:spPr>
          <a:xfrm>
            <a:off x="1950304" y="1403069"/>
            <a:ext cx="9540240" cy="5366385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2E465D68-DBD5-6133-BBDF-A89820E9C6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8720" y="322080"/>
            <a:ext cx="10043280" cy="830444"/>
          </a:xfrm>
        </p:spPr>
        <p:txBody>
          <a:bodyPr/>
          <a:lstStyle/>
          <a:p>
            <a:r>
              <a:rPr lang="nl-NL" dirty="0"/>
              <a:t>Video ‘Stress &amp; </a:t>
            </a:r>
            <a:r>
              <a:rPr lang="nl-NL" dirty="0" err="1"/>
              <a:t>Healthy</a:t>
            </a:r>
            <a:r>
              <a:rPr lang="nl-NL" dirty="0"/>
              <a:t> </a:t>
            </a:r>
            <a:r>
              <a:rPr lang="nl-NL" dirty="0" err="1"/>
              <a:t>Habits</a:t>
            </a:r>
            <a:r>
              <a:rPr lang="nl-NL" dirty="0"/>
              <a:t>’ – </a:t>
            </a:r>
            <a:r>
              <a:rPr lang="nl-NL" dirty="0" err="1"/>
              <a:t>Strenghening</a:t>
            </a:r>
            <a:r>
              <a:rPr lang="nl-NL" dirty="0"/>
              <a:t> </a:t>
            </a:r>
            <a:r>
              <a:rPr lang="nl-NL" dirty="0" err="1"/>
              <a:t>Selfcare</a:t>
            </a:r>
            <a:r>
              <a:rPr lang="nl-NL" dirty="0"/>
              <a:t> </a:t>
            </a:r>
            <a:r>
              <a:rPr lang="nl-NL" dirty="0" err="1"/>
              <a:t>for</a:t>
            </a:r>
            <a:r>
              <a:rPr lang="nl-NL" dirty="0"/>
              <a:t> </a:t>
            </a:r>
            <a:r>
              <a:rPr lang="nl-NL" dirty="0" err="1"/>
              <a:t>migrants</a:t>
            </a:r>
            <a:r>
              <a:rPr lang="nl-NL" dirty="0"/>
              <a:t> in the Netherlands 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9658094D-1FFF-0BE9-5498-11E76579D70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023FC5B-98A5-49E4-B59C-E073B8952154}" type="slidenum">
              <a:rPr lang="nl-NL" smtClean="0"/>
              <a:pPr/>
              <a:t>2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886953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84AB98-9B45-5953-64B0-0CF5E5CAFB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6250" y="227093"/>
            <a:ext cx="6480000" cy="1008000"/>
          </a:xfrm>
        </p:spPr>
        <p:txBody>
          <a:bodyPr/>
          <a:lstStyle/>
          <a:p>
            <a:r>
              <a:rPr lang="nl-NL" dirty="0"/>
              <a:t>Team PSS: </a:t>
            </a:r>
            <a:r>
              <a:rPr lang="nl-NL" dirty="0" err="1"/>
              <a:t>Who</a:t>
            </a:r>
            <a:r>
              <a:rPr lang="nl-NL" dirty="0"/>
              <a:t> are we?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EDB8DD3-140D-255C-39F0-40FB2ED010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6249" y="1380070"/>
            <a:ext cx="9386141" cy="2193977"/>
          </a:xfrm>
        </p:spPr>
        <p:txBody>
          <a:bodyPr/>
          <a:lstStyle/>
          <a:p>
            <a:r>
              <a:rPr lang="nl-NL" i="1" dirty="0"/>
              <a:t>PSS team members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/>
              <a:t>Liske Hays – Advisor PSS &amp; </a:t>
            </a:r>
            <a:r>
              <a:rPr lang="nl-NL" dirty="0" err="1"/>
              <a:t>Focal</a:t>
            </a:r>
            <a:r>
              <a:rPr lang="nl-NL" dirty="0"/>
              <a:t> Person </a:t>
            </a:r>
            <a:r>
              <a:rPr lang="nl-NL" dirty="0">
                <a:hlinkClick r:id="rId3"/>
              </a:rPr>
              <a:t>lhays@redcross.nl</a:t>
            </a:r>
            <a:r>
              <a:rPr lang="nl-NL" dirty="0"/>
              <a:t> (</a:t>
            </a:r>
            <a:r>
              <a:rPr lang="nl-NL" dirty="0" err="1"/>
              <a:t>since</a:t>
            </a:r>
            <a:r>
              <a:rPr lang="nl-NL" dirty="0"/>
              <a:t> Nov 2023, </a:t>
            </a:r>
            <a:r>
              <a:rPr lang="nl-NL" dirty="0" err="1"/>
              <a:t>and</a:t>
            </a:r>
            <a:r>
              <a:rPr lang="nl-NL" dirty="0"/>
              <a:t> PSS Project Support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June</a:t>
            </a:r>
            <a:r>
              <a:rPr lang="nl-NL" dirty="0"/>
              <a:t> 2021 – </a:t>
            </a:r>
            <a:r>
              <a:rPr lang="nl-NL" dirty="0" err="1"/>
              <a:t>October</a:t>
            </a:r>
            <a:r>
              <a:rPr lang="nl-NL" dirty="0"/>
              <a:t> 2023)</a:t>
            </a:r>
            <a:r>
              <a:rPr lang="nl-NL" dirty="0">
                <a:hlinkClick r:id="rId3"/>
              </a:rPr>
              <a:t> </a:t>
            </a: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/>
              <a:t>Marijke van Thielen – National Project leader </a:t>
            </a:r>
            <a:r>
              <a:rPr lang="nl-NL" dirty="0" err="1"/>
              <a:t>Psychological</a:t>
            </a:r>
            <a:r>
              <a:rPr lang="nl-NL" dirty="0"/>
              <a:t> First </a:t>
            </a:r>
            <a:r>
              <a:rPr lang="nl-NL" dirty="0" err="1"/>
              <a:t>Aid</a:t>
            </a:r>
            <a:r>
              <a:rPr lang="nl-NL" dirty="0"/>
              <a:t> </a:t>
            </a:r>
            <a:r>
              <a:rPr lang="nl-NL" dirty="0">
                <a:hlinkClick r:id="rId4"/>
              </a:rPr>
              <a:t>mvanthielen@redcross.nl</a:t>
            </a:r>
            <a:r>
              <a:rPr lang="nl-NL" dirty="0"/>
              <a:t> (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June</a:t>
            </a:r>
            <a:r>
              <a:rPr lang="nl-NL" dirty="0"/>
              <a:t> 2022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/>
              <a:t>Famke Kamphorst – National Coördinator Team </a:t>
            </a:r>
            <a:r>
              <a:rPr lang="nl-NL" dirty="0" err="1"/>
              <a:t>Colleagial</a:t>
            </a:r>
            <a:r>
              <a:rPr lang="nl-NL" dirty="0"/>
              <a:t> Support </a:t>
            </a:r>
            <a:r>
              <a:rPr lang="nl-NL" dirty="0">
                <a:hlinkClick r:id="rId5"/>
              </a:rPr>
              <a:t>fkamphorst@redcross.nl</a:t>
            </a:r>
            <a:r>
              <a:rPr lang="nl-NL" dirty="0"/>
              <a:t> (</a:t>
            </a:r>
            <a:r>
              <a:rPr lang="nl-NL" dirty="0" err="1"/>
              <a:t>since</a:t>
            </a:r>
            <a:r>
              <a:rPr lang="nl-NL" dirty="0"/>
              <a:t> August 2023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/>
              <a:t>Esther </a:t>
            </a:r>
            <a:r>
              <a:rPr lang="nl-NL" dirty="0" err="1"/>
              <a:t>Lemson</a:t>
            </a:r>
            <a:r>
              <a:rPr lang="nl-NL" dirty="0"/>
              <a:t> – Advisor Project Monitoring, Evaluation </a:t>
            </a:r>
            <a:r>
              <a:rPr lang="nl-NL" dirty="0" err="1"/>
              <a:t>and</a:t>
            </a:r>
            <a:r>
              <a:rPr lang="nl-NL" dirty="0"/>
              <a:t> Reporting </a:t>
            </a:r>
            <a:r>
              <a:rPr lang="nl-NL" dirty="0">
                <a:hlinkClick r:id="rId6"/>
              </a:rPr>
              <a:t>elemson@redcross.nl</a:t>
            </a:r>
            <a:r>
              <a:rPr lang="nl-NL" dirty="0"/>
              <a:t> (</a:t>
            </a:r>
            <a:r>
              <a:rPr lang="nl-NL" dirty="0" err="1"/>
              <a:t>since</a:t>
            </a:r>
            <a:r>
              <a:rPr lang="nl-NL" dirty="0"/>
              <a:t> 2019)</a:t>
            </a:r>
          </a:p>
          <a:p>
            <a:endParaRPr lang="nl-NL" dirty="0"/>
          </a:p>
          <a:p>
            <a:r>
              <a:rPr lang="nl-NL" i="1" dirty="0" err="1"/>
              <a:t>Supportive</a:t>
            </a:r>
            <a:r>
              <a:rPr lang="nl-NL" i="1" dirty="0"/>
              <a:t> managers: </a:t>
            </a:r>
          </a:p>
          <a:p>
            <a:r>
              <a:rPr lang="nl-NL" dirty="0"/>
              <a:t>Pieter Boot – Head </a:t>
            </a:r>
            <a:r>
              <a:rPr lang="nl-NL" dirty="0" err="1"/>
              <a:t>Advice</a:t>
            </a:r>
            <a:r>
              <a:rPr lang="nl-NL" dirty="0"/>
              <a:t>, Policy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Strategy</a:t>
            </a:r>
            <a:r>
              <a:rPr lang="nl-NL" dirty="0"/>
              <a:t> </a:t>
            </a:r>
            <a:r>
              <a:rPr lang="nl-NL" dirty="0">
                <a:hlinkClick r:id="rId7"/>
              </a:rPr>
              <a:t>pboot@redcross.nl</a:t>
            </a:r>
            <a:r>
              <a:rPr lang="nl-NL" dirty="0"/>
              <a:t> </a:t>
            </a:r>
          </a:p>
          <a:p>
            <a:r>
              <a:rPr lang="nl-NL" dirty="0"/>
              <a:t>Ruth van Rijn – Head Migration &amp; RFL </a:t>
            </a:r>
            <a:r>
              <a:rPr lang="nl-NL" dirty="0">
                <a:hlinkClick r:id="rId8"/>
              </a:rPr>
              <a:t>rvanrijn@redcross.nl</a:t>
            </a:r>
            <a:endParaRPr lang="nl-NL" dirty="0"/>
          </a:p>
          <a:p>
            <a:endParaRPr lang="nl-NL" dirty="0"/>
          </a:p>
          <a:p>
            <a:pPr lvl="1" algn="l"/>
            <a:r>
              <a:rPr lang="nl-NL" sz="1600" i="1" dirty="0"/>
              <a:t>       </a:t>
            </a:r>
            <a:r>
              <a:rPr lang="nl-NL" sz="1600" i="1" dirty="0" err="1"/>
              <a:t>Former</a:t>
            </a:r>
            <a:r>
              <a:rPr lang="nl-NL" sz="1600" i="1" dirty="0"/>
              <a:t> PSS colleges: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nl-NL" sz="1600" i="1" dirty="0"/>
              <a:t>Carolien Pronk – Advisor PSS &amp; </a:t>
            </a:r>
            <a:r>
              <a:rPr lang="nl-NL" sz="1600" i="1" dirty="0" err="1"/>
              <a:t>Focal</a:t>
            </a:r>
            <a:r>
              <a:rPr lang="nl-NL" sz="1600" i="1" dirty="0"/>
              <a:t> person (</a:t>
            </a:r>
            <a:r>
              <a:rPr lang="nl-NL" sz="1600" i="1" dirty="0" err="1"/>
              <a:t>March</a:t>
            </a:r>
            <a:r>
              <a:rPr lang="nl-NL" sz="1600" i="1" dirty="0"/>
              <a:t> 2019 – </a:t>
            </a:r>
            <a:r>
              <a:rPr lang="nl-NL" sz="1600" i="1" dirty="0" err="1"/>
              <a:t>Oct</a:t>
            </a:r>
            <a:r>
              <a:rPr lang="nl-NL" sz="1600" i="1" dirty="0"/>
              <a:t> 2023, </a:t>
            </a:r>
            <a:r>
              <a:rPr lang="nl-NL" sz="1600" i="1" dirty="0" err="1"/>
              <a:t>and</a:t>
            </a:r>
            <a:r>
              <a:rPr lang="nl-NL" sz="1600" i="1" dirty="0"/>
              <a:t> National projectleader support </a:t>
            </a:r>
            <a:r>
              <a:rPr lang="nl-NL" sz="1600" i="1" dirty="0" err="1"/>
              <a:t>for</a:t>
            </a:r>
            <a:r>
              <a:rPr lang="nl-NL" sz="1600" i="1" dirty="0"/>
              <a:t> </a:t>
            </a:r>
            <a:r>
              <a:rPr lang="nl-NL" sz="1600" i="1" dirty="0" err="1"/>
              <a:t>undocumented</a:t>
            </a:r>
            <a:r>
              <a:rPr lang="nl-NL" sz="1600" i="1" dirty="0"/>
              <a:t> </a:t>
            </a:r>
            <a:r>
              <a:rPr lang="nl-NL" sz="1600" i="1" dirty="0" err="1"/>
              <a:t>migrants</a:t>
            </a:r>
            <a:r>
              <a:rPr lang="nl-NL" sz="1600" i="1" dirty="0"/>
              <a:t> April 2014–Feb 2019)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nl-NL" sz="1600" i="1" dirty="0"/>
              <a:t>Madelon Bronner  - Advisor PSS (Dec 2020- </a:t>
            </a:r>
            <a:r>
              <a:rPr lang="nl-NL" sz="1600" i="1" dirty="0" err="1"/>
              <a:t>June</a:t>
            </a:r>
            <a:r>
              <a:rPr lang="nl-NL" sz="1600" i="1" dirty="0"/>
              <a:t> 2023)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nl-NL" sz="1600" i="1" dirty="0"/>
              <a:t>Esmee Pluijmers – Advisor PSS (</a:t>
            </a:r>
            <a:r>
              <a:rPr lang="nl-NL" sz="1600" i="1" dirty="0" err="1"/>
              <a:t>January</a:t>
            </a:r>
            <a:r>
              <a:rPr lang="nl-NL" sz="1600" i="1" dirty="0"/>
              <a:t> 2021 –  May 2022)</a:t>
            </a:r>
            <a:endParaRPr lang="nl-NL" sz="1600" dirty="0"/>
          </a:p>
          <a:p>
            <a:endParaRPr lang="nl-NL" dirty="0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2BE3132E-D470-B1FD-A0C5-0EBB9B90F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023FC5B-98A5-49E4-B59C-E073B8952154}" type="slidenum">
              <a:rPr lang="nl-NL" smtClean="0"/>
              <a:pPr/>
              <a:t>3</a:t>
            </a:fld>
            <a:endParaRPr lang="nl-NL"/>
          </a:p>
        </p:txBody>
      </p:sp>
      <p:pic>
        <p:nvPicPr>
          <p:cNvPr id="10" name="Tijdelijke aanduiding voor afbeelding 9" descr="Afbeelding met Menselijk gezicht, persoon, buitenshuis, kleding&#10;&#10;Automatisch gegenereerde beschrijving">
            <a:extLst>
              <a:ext uri="{FF2B5EF4-FFF2-40B4-BE49-F238E27FC236}">
                <a16:creationId xmlns:a16="http://schemas.microsoft.com/office/drawing/2014/main" id="{6D3E0543-60A3-C9C8-4D36-0A004E59479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62" b="19362"/>
          <a:stretch>
            <a:fillRect/>
          </a:stretch>
        </p:blipFill>
        <p:spPr bwMode="auto">
          <a:xfrm>
            <a:off x="10310660" y="1"/>
            <a:ext cx="1881339" cy="1152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Afbeelding 4" descr="Afbeelding met Menselijk gezicht, persoon, glimlach, kleding&#10;&#10;Automatisch gegenereerde beschrijving">
            <a:extLst>
              <a:ext uri="{FF2B5EF4-FFF2-40B4-BE49-F238E27FC236}">
                <a16:creationId xmlns:a16="http://schemas.microsoft.com/office/drawing/2014/main" id="{6F248121-110B-02E2-F67E-85D91668840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0660" y="1125614"/>
            <a:ext cx="1881340" cy="1711777"/>
          </a:xfrm>
          <a:prstGeom prst="rect">
            <a:avLst/>
          </a:prstGeom>
        </p:spPr>
      </p:pic>
      <p:pic>
        <p:nvPicPr>
          <p:cNvPr id="14" name="Tijdelijke aanduiding voor afbeelding 13" descr="Afbeelding met Menselijk gezicht, persoon, kleding, glimlach&#10;&#10;Automatisch gegenereerde beschrijving">
            <a:extLst>
              <a:ext uri="{FF2B5EF4-FFF2-40B4-BE49-F238E27FC236}">
                <a16:creationId xmlns:a16="http://schemas.microsoft.com/office/drawing/2014/main" id="{9726CDDA-AE33-02DA-55EF-03F2A13C5763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62" b="19362"/>
          <a:stretch>
            <a:fillRect/>
          </a:stretch>
        </p:blipFill>
        <p:spPr>
          <a:xfrm>
            <a:off x="10312400" y="2305596"/>
            <a:ext cx="1897223" cy="1196757"/>
          </a:xfrm>
        </p:spPr>
      </p:pic>
      <p:pic>
        <p:nvPicPr>
          <p:cNvPr id="4" name="Afbeelding 5" descr="Afbeelding met persoon, vrouw, overdekt&#10;&#10;Automatisch gegenereerde beschrijving">
            <a:extLst>
              <a:ext uri="{FF2B5EF4-FFF2-40B4-BE49-F238E27FC236}">
                <a16:creationId xmlns:a16="http://schemas.microsoft.com/office/drawing/2014/main" id="{053B3DB7-9F57-CE11-8003-9A222B5186A7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11577" t="8964" r="15484" b="45524"/>
          <a:stretch/>
        </p:blipFill>
        <p:spPr>
          <a:xfrm>
            <a:off x="8092260" y="0"/>
            <a:ext cx="1847850" cy="1152978"/>
          </a:xfrm>
          <a:prstGeom prst="rect">
            <a:avLst/>
          </a:prstGeom>
        </p:spPr>
      </p:pic>
      <p:pic>
        <p:nvPicPr>
          <p:cNvPr id="8" name="Tijdelijke aanduiding voor inhoud 3">
            <a:extLst>
              <a:ext uri="{FF2B5EF4-FFF2-40B4-BE49-F238E27FC236}">
                <a16:creationId xmlns:a16="http://schemas.microsoft.com/office/drawing/2014/main" id="{268F0340-554F-37D6-EABA-0D62F58712D9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10" t="8105" b="48647"/>
          <a:stretch/>
        </p:blipFill>
        <p:spPr>
          <a:xfrm>
            <a:off x="10310660" y="4475520"/>
            <a:ext cx="1881338" cy="1021913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26782B06-DDE7-4363-0070-5F12A6608427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5979"/>
          <a:stretch/>
        </p:blipFill>
        <p:spPr>
          <a:xfrm>
            <a:off x="10312399" y="5497433"/>
            <a:ext cx="1897223" cy="1379960"/>
          </a:xfrm>
          <a:prstGeom prst="rect">
            <a:avLst/>
          </a:prstGeom>
        </p:spPr>
      </p:pic>
      <p:pic>
        <p:nvPicPr>
          <p:cNvPr id="1026" name="Picture 2" descr="Esther Lemsom">
            <a:extLst>
              <a:ext uri="{FF2B5EF4-FFF2-40B4-BE49-F238E27FC236}">
                <a16:creationId xmlns:a16="http://schemas.microsoft.com/office/drawing/2014/main" id="{73186A32-82F3-6F71-F25C-83A9BE2E8E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34" b="27301"/>
          <a:stretch/>
        </p:blipFill>
        <p:spPr bwMode="auto">
          <a:xfrm>
            <a:off x="10310660" y="3426202"/>
            <a:ext cx="1985753" cy="1073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170528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nline Media 4" title="#Skipdecoronadip-Themamaand: lief zijn voor jezelf.">
            <a:hlinkClick r:id="" action="ppaction://media"/>
            <a:extLst>
              <a:ext uri="{FF2B5EF4-FFF2-40B4-BE49-F238E27FC236}">
                <a16:creationId xmlns:a16="http://schemas.microsoft.com/office/drawing/2014/main" id="{F6BCAD4C-6A4C-CABC-B6EA-C49C6653743B}"/>
              </a:ext>
            </a:extLst>
          </p:cNvPr>
          <p:cNvPicPr>
            <a:picLocks noGrp="1" noRot="1" noChangeAspect="1"/>
          </p:cNvPicPr>
          <p:nvPr>
            <p:ph type="pic" sz="quarter" idx="10"/>
            <a:videoFile r:link="rId1"/>
          </p:nvPr>
        </p:nvPicPr>
        <p:blipFill rotWithShape="1">
          <a:blip r:embed="rId4"/>
          <a:srcRect t="12500" b="12500"/>
          <a:stretch/>
        </p:blipFill>
        <p:spPr/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991E86D-D220-C700-D826-6E4E41C85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394" y="504960"/>
            <a:ext cx="11233150" cy="830444"/>
          </a:xfrm>
        </p:spPr>
        <p:txBody>
          <a:bodyPr/>
          <a:lstStyle/>
          <a:p>
            <a:r>
              <a:rPr lang="en-US" sz="2000" dirty="0"/>
              <a:t>Find your own inner strength!</a:t>
            </a:r>
            <a:br>
              <a:rPr lang="en-US" sz="2000" dirty="0"/>
            </a:br>
            <a:r>
              <a:rPr lang="en-US" sz="2000" dirty="0"/>
              <a:t>December 2021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997A03-7694-C471-2A78-776D0E542A9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023FC5B-98A5-49E4-B59C-E073B8952154}" type="slidenum">
              <a:rPr lang="nl-NL" smtClean="0"/>
              <a:pPr/>
              <a:t>3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3032707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Tijdelijke aanduiding voor afbeelding 20" descr="Afbeelding met geel, speelgoed&#10;&#10;Automatisch gegenereerde beschrijving">
            <a:extLst>
              <a:ext uri="{FF2B5EF4-FFF2-40B4-BE49-F238E27FC236}">
                <a16:creationId xmlns:a16="http://schemas.microsoft.com/office/drawing/2014/main" id="{620110E0-0DDF-B192-FB3D-5DB0588F8C6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>
            <a:fillRect/>
          </a:stretch>
        </p:blipFill>
        <p:spPr>
          <a:xfrm>
            <a:off x="0" y="-1310"/>
            <a:ext cx="12192000" cy="6858000"/>
          </a:xfrm>
        </p:spPr>
      </p:pic>
      <p:sp>
        <p:nvSpPr>
          <p:cNvPr id="7" name="Ondertitel 6"/>
          <p:cNvSpPr>
            <a:spLocks noGrp="1"/>
          </p:cNvSpPr>
          <p:nvPr>
            <p:ph type="subTitle" idx="4294967295"/>
          </p:nvPr>
        </p:nvSpPr>
        <p:spPr>
          <a:xfrm>
            <a:off x="826656" y="1310933"/>
            <a:ext cx="5919788" cy="118174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l-NL" b="1" dirty="0" err="1"/>
              <a:t>What</a:t>
            </a:r>
            <a:r>
              <a:rPr lang="nl-NL" b="1" dirty="0"/>
              <a:t> are </a:t>
            </a:r>
            <a:r>
              <a:rPr lang="nl-NL" b="1" dirty="0" err="1"/>
              <a:t>your</a:t>
            </a:r>
            <a:r>
              <a:rPr lang="nl-NL" b="1" dirty="0"/>
              <a:t> super </a:t>
            </a:r>
            <a:r>
              <a:rPr lang="nl-NL" b="1" dirty="0" err="1"/>
              <a:t>powers</a:t>
            </a:r>
            <a:r>
              <a:rPr lang="nl-NL" b="1" dirty="0"/>
              <a:t>? </a:t>
            </a:r>
            <a:endParaRPr lang="nl-NL" dirty="0"/>
          </a:p>
          <a:p>
            <a:pPr marL="0" indent="0">
              <a:buNone/>
            </a:pPr>
            <a:endParaRPr lang="nl-NL" b="1" dirty="0"/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ED5FEDBA-0196-D0BF-7BBF-28FD2432D39B}"/>
              </a:ext>
            </a:extLst>
          </p:cNvPr>
          <p:cNvSpPr txBox="1"/>
          <p:nvPr/>
        </p:nvSpPr>
        <p:spPr>
          <a:xfrm>
            <a:off x="6099621" y="1308227"/>
            <a:ext cx="6092380" cy="1569660"/>
          </a:xfrm>
          <a:prstGeom prst="rect">
            <a:avLst/>
          </a:prstGeom>
          <a:solidFill>
            <a:schemeClr val="accent1">
              <a:alpha val="60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nl-NL" sz="2400" b="1" dirty="0">
                <a:solidFill>
                  <a:schemeClr val="bg2"/>
                </a:solidFill>
              </a:rPr>
              <a:t>Do the super power-</a:t>
            </a:r>
            <a:r>
              <a:rPr lang="nl-NL" sz="2400" b="1" dirty="0" err="1">
                <a:solidFill>
                  <a:schemeClr val="bg2"/>
                </a:solidFill>
              </a:rPr>
              <a:t>challenge</a:t>
            </a:r>
            <a:r>
              <a:rPr lang="nl-NL" sz="2400" b="1" dirty="0">
                <a:solidFill>
                  <a:schemeClr val="bg2"/>
                </a:solidFill>
              </a:rPr>
              <a:t>!</a:t>
            </a:r>
          </a:p>
          <a:p>
            <a:pPr algn="r"/>
            <a:r>
              <a:rPr lang="nl-NL" sz="2400" dirty="0">
                <a:solidFill>
                  <a:schemeClr val="bg2"/>
                </a:solidFill>
              </a:rPr>
              <a:t>Name 3 positieve </a:t>
            </a:r>
            <a:r>
              <a:rPr lang="nl-NL" sz="2400" dirty="0" err="1">
                <a:solidFill>
                  <a:schemeClr val="bg2"/>
                </a:solidFill>
              </a:rPr>
              <a:t>characteristics</a:t>
            </a:r>
            <a:r>
              <a:rPr lang="nl-NL" sz="2400" dirty="0">
                <a:solidFill>
                  <a:schemeClr val="bg2"/>
                </a:solidFill>
              </a:rPr>
              <a:t> of </a:t>
            </a:r>
            <a:r>
              <a:rPr lang="nl-NL" sz="2400" dirty="0" err="1">
                <a:solidFill>
                  <a:schemeClr val="bg2"/>
                </a:solidFill>
              </a:rPr>
              <a:t>your</a:t>
            </a:r>
            <a:r>
              <a:rPr lang="nl-NL" sz="2400" dirty="0">
                <a:solidFill>
                  <a:schemeClr val="bg2"/>
                </a:solidFill>
              </a:rPr>
              <a:t> </a:t>
            </a:r>
            <a:r>
              <a:rPr lang="nl-NL" sz="2400" dirty="0" err="1">
                <a:solidFill>
                  <a:schemeClr val="bg2"/>
                </a:solidFill>
              </a:rPr>
              <a:t>neighbour</a:t>
            </a:r>
            <a:r>
              <a:rPr lang="nl-NL" sz="2400" dirty="0">
                <a:solidFill>
                  <a:schemeClr val="bg2"/>
                </a:solidFill>
              </a:rPr>
              <a:t>, </a:t>
            </a:r>
            <a:r>
              <a:rPr lang="nl-NL" sz="2400" dirty="0" err="1">
                <a:solidFill>
                  <a:schemeClr val="bg2"/>
                </a:solidFill>
              </a:rPr>
              <a:t>and</a:t>
            </a:r>
            <a:r>
              <a:rPr lang="nl-NL" sz="2400" dirty="0">
                <a:solidFill>
                  <a:schemeClr val="bg2"/>
                </a:solidFill>
              </a:rPr>
              <a:t> </a:t>
            </a:r>
            <a:r>
              <a:rPr lang="nl-NL" sz="2400" dirty="0" err="1">
                <a:solidFill>
                  <a:schemeClr val="bg2"/>
                </a:solidFill>
              </a:rPr>
              <a:t>ask</a:t>
            </a:r>
            <a:r>
              <a:rPr lang="nl-NL" sz="2400" dirty="0">
                <a:solidFill>
                  <a:schemeClr val="bg2"/>
                </a:solidFill>
              </a:rPr>
              <a:t> </a:t>
            </a:r>
            <a:r>
              <a:rPr lang="nl-NL" sz="2400" dirty="0" err="1">
                <a:solidFill>
                  <a:schemeClr val="bg2"/>
                </a:solidFill>
              </a:rPr>
              <a:t>him</a:t>
            </a:r>
            <a:r>
              <a:rPr lang="nl-NL" sz="2400" dirty="0">
                <a:solidFill>
                  <a:schemeClr val="bg2"/>
                </a:solidFill>
              </a:rPr>
              <a:t> or her ‘</a:t>
            </a:r>
            <a:r>
              <a:rPr lang="nl-NL" sz="2400" dirty="0" err="1">
                <a:solidFill>
                  <a:schemeClr val="bg2"/>
                </a:solidFill>
              </a:rPr>
              <a:t>what</a:t>
            </a:r>
            <a:r>
              <a:rPr lang="nl-NL" sz="2400" dirty="0">
                <a:solidFill>
                  <a:schemeClr val="bg2"/>
                </a:solidFill>
              </a:rPr>
              <a:t> are </a:t>
            </a:r>
            <a:r>
              <a:rPr lang="nl-NL" sz="2400" dirty="0" err="1">
                <a:solidFill>
                  <a:schemeClr val="bg2"/>
                </a:solidFill>
              </a:rPr>
              <a:t>yours</a:t>
            </a:r>
            <a:r>
              <a:rPr lang="nl-NL" sz="2400" dirty="0">
                <a:solidFill>
                  <a:schemeClr val="bg2"/>
                </a:solidFill>
              </a:rPr>
              <a:t>?’ </a:t>
            </a:r>
          </a:p>
        </p:txBody>
      </p:sp>
      <p:sp>
        <p:nvSpPr>
          <p:cNvPr id="23" name="Titel 2">
            <a:extLst>
              <a:ext uri="{FF2B5EF4-FFF2-40B4-BE49-F238E27FC236}">
                <a16:creationId xmlns:a16="http://schemas.microsoft.com/office/drawing/2014/main" id="{19DA52D4-E0D2-BC07-72D7-7835A8D95B06}"/>
              </a:ext>
            </a:extLst>
          </p:cNvPr>
          <p:cNvSpPr txBox="1">
            <a:spLocks/>
          </p:cNvSpPr>
          <p:nvPr/>
        </p:nvSpPr>
        <p:spPr>
          <a:xfrm>
            <a:off x="826656" y="414373"/>
            <a:ext cx="5707309" cy="830444"/>
          </a:xfrm>
          <a:prstGeom prst="rect">
            <a:avLst/>
          </a:prstGeom>
        </p:spPr>
        <p:txBody>
          <a:bodyPr vert="horz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spc="6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3600" dirty="0">
                <a:solidFill>
                  <a:schemeClr val="accent6"/>
                </a:solidFill>
              </a:rPr>
              <a:t>Everybody is a </a:t>
            </a:r>
            <a:r>
              <a:rPr lang="nl-NL" sz="3600" dirty="0" err="1">
                <a:solidFill>
                  <a:schemeClr val="accent6"/>
                </a:solidFill>
              </a:rPr>
              <a:t>superhero</a:t>
            </a:r>
            <a:endParaRPr lang="nl-NL" sz="3600" dirty="0">
              <a:solidFill>
                <a:schemeClr val="accent6"/>
              </a:solidFill>
            </a:endParaRPr>
          </a:p>
        </p:txBody>
      </p:sp>
      <p:pic>
        <p:nvPicPr>
          <p:cNvPr id="26" name="Afbeelding 25">
            <a:extLst>
              <a:ext uri="{FF2B5EF4-FFF2-40B4-BE49-F238E27FC236}">
                <a16:creationId xmlns:a16="http://schemas.microsoft.com/office/drawing/2014/main" id="{13E2A259-90DA-4338-1ED7-58CD4FC26F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5560586"/>
            <a:ext cx="1362075" cy="695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1696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>
            <a:extLst>
              <a:ext uri="{FF2B5EF4-FFF2-40B4-BE49-F238E27FC236}">
                <a16:creationId xmlns:a16="http://schemas.microsoft.com/office/drawing/2014/main" id="{C14D19DF-0B3C-02BC-80C0-C496BA4FB1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err="1"/>
              <a:t>Participating</a:t>
            </a:r>
            <a:r>
              <a:rPr lang="nl-NL" dirty="0"/>
              <a:t> in the MHPSS European Network </a:t>
            </a:r>
            <a:r>
              <a:rPr lang="nl-NL" dirty="0" err="1"/>
              <a:t>since</a:t>
            </a:r>
            <a:r>
              <a:rPr lang="nl-NL" dirty="0"/>
              <a:t> 2016 (</a:t>
            </a:r>
            <a:r>
              <a:rPr lang="nl-NL" dirty="0" err="1"/>
              <a:t>by</a:t>
            </a:r>
            <a:r>
              <a:rPr lang="nl-NL" dirty="0"/>
              <a:t> Sabrina Poorte, Carolien Pronk, Liske Hays)</a:t>
            </a:r>
          </a:p>
          <a:p>
            <a:r>
              <a:rPr lang="nl-NL" dirty="0"/>
              <a:t>Steering member 2019-2023 </a:t>
            </a:r>
            <a:r>
              <a:rPr lang="nl-NL" dirty="0" err="1"/>
              <a:t>and</a:t>
            </a:r>
            <a:r>
              <a:rPr lang="nl-NL" dirty="0"/>
              <a:t> co-</a:t>
            </a:r>
            <a:r>
              <a:rPr lang="nl-NL" dirty="0" err="1"/>
              <a:t>chair</a:t>
            </a:r>
            <a:r>
              <a:rPr lang="nl-NL" dirty="0"/>
              <a:t> 2021-2023 of the MHPSS European Network 2019-2023 (</a:t>
            </a:r>
            <a:r>
              <a:rPr lang="nl-NL" dirty="0" err="1"/>
              <a:t>by</a:t>
            </a:r>
            <a:r>
              <a:rPr lang="nl-NL" dirty="0"/>
              <a:t> Carolien Pronk)</a:t>
            </a:r>
          </a:p>
          <a:p>
            <a:r>
              <a:rPr lang="nl-NL" dirty="0" err="1"/>
              <a:t>Participants</a:t>
            </a:r>
            <a:r>
              <a:rPr lang="nl-NL" dirty="0"/>
              <a:t> of </a:t>
            </a:r>
            <a:r>
              <a:rPr lang="nl-NL" dirty="0" err="1"/>
              <a:t>working</a:t>
            </a:r>
            <a:r>
              <a:rPr lang="nl-NL" dirty="0"/>
              <a:t> </a:t>
            </a:r>
            <a:r>
              <a:rPr lang="nl-NL" dirty="0" err="1"/>
              <a:t>groups</a:t>
            </a:r>
            <a:r>
              <a:rPr lang="nl-NL" dirty="0"/>
              <a:t>:</a:t>
            </a:r>
          </a:p>
          <a:p>
            <a:pPr marL="0" indent="0">
              <a:buNone/>
            </a:pPr>
            <a:r>
              <a:rPr lang="nl-NL" dirty="0"/>
              <a:t> 	</a:t>
            </a:r>
            <a:r>
              <a:rPr lang="nl-NL" dirty="0" err="1"/>
              <a:t>Prioriy</a:t>
            </a:r>
            <a:r>
              <a:rPr lang="nl-NL"/>
              <a:t> action area 1 – 2021-2023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316D3DE-5605-CD1F-02FE-9F326ECE7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6. </a:t>
            </a:r>
            <a:r>
              <a:rPr lang="nl-NL" dirty="0" err="1"/>
              <a:t>Overview</a:t>
            </a:r>
            <a:r>
              <a:rPr lang="nl-NL" dirty="0"/>
              <a:t> of </a:t>
            </a:r>
            <a:r>
              <a:rPr lang="nl-NL" dirty="0" err="1"/>
              <a:t>other</a:t>
            </a:r>
            <a:r>
              <a:rPr lang="nl-NL" dirty="0"/>
              <a:t> </a:t>
            </a:r>
            <a:r>
              <a:rPr lang="nl-NL" dirty="0" err="1"/>
              <a:t>forms</a:t>
            </a:r>
            <a:r>
              <a:rPr lang="nl-NL" dirty="0"/>
              <a:t> of </a:t>
            </a:r>
            <a:r>
              <a:rPr lang="nl-NL" dirty="0" err="1"/>
              <a:t>other</a:t>
            </a:r>
            <a:r>
              <a:rPr lang="nl-NL" dirty="0"/>
              <a:t> PSS </a:t>
            </a:r>
            <a:r>
              <a:rPr lang="nl-NL" dirty="0" err="1"/>
              <a:t>involvement</a:t>
            </a:r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6405CA77-2EF3-DAE0-CECB-3BDBF9C0C1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3FC5B-98A5-49E4-B59C-E073B8952154}" type="slidenum">
              <a:rPr lang="nl-NL" smtClean="0"/>
              <a:pPr/>
              <a:t>3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8370175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84AB98-9B45-5953-64B0-0CF5E5CAFB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6250" y="227093"/>
            <a:ext cx="6480000" cy="1008000"/>
          </a:xfrm>
        </p:spPr>
        <p:txBody>
          <a:bodyPr/>
          <a:lstStyle/>
          <a:p>
            <a:r>
              <a:rPr lang="nl-NL" dirty="0" err="1"/>
              <a:t>Thank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!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EDB8DD3-140D-255C-39F0-40FB2ED010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6249" y="1380070"/>
            <a:ext cx="9386141" cy="2193977"/>
          </a:xfrm>
        </p:spPr>
        <p:txBody>
          <a:bodyPr/>
          <a:lstStyle/>
          <a:p>
            <a:r>
              <a:rPr lang="nl-NL" i="1" dirty="0"/>
              <a:t>PSS team members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/>
              <a:t>Liske Hays – Advisor PSS &amp; </a:t>
            </a:r>
            <a:r>
              <a:rPr lang="nl-NL" dirty="0" err="1"/>
              <a:t>Focal</a:t>
            </a:r>
            <a:r>
              <a:rPr lang="nl-NL" dirty="0"/>
              <a:t> Person </a:t>
            </a:r>
            <a:r>
              <a:rPr lang="nl-NL" dirty="0">
                <a:hlinkClick r:id="rId3"/>
              </a:rPr>
              <a:t>lhays@redcross.nl</a:t>
            </a:r>
            <a:r>
              <a:rPr lang="nl-NL" dirty="0"/>
              <a:t> (</a:t>
            </a:r>
            <a:r>
              <a:rPr lang="nl-NL" dirty="0" err="1"/>
              <a:t>since</a:t>
            </a:r>
            <a:r>
              <a:rPr lang="nl-NL" dirty="0"/>
              <a:t> Nov 2023, </a:t>
            </a:r>
            <a:r>
              <a:rPr lang="nl-NL" dirty="0" err="1"/>
              <a:t>and</a:t>
            </a:r>
            <a:r>
              <a:rPr lang="nl-NL" dirty="0"/>
              <a:t> PSS Project Support </a:t>
            </a:r>
            <a:r>
              <a:rPr lang="nl-NL" dirty="0" err="1"/>
              <a:t>from</a:t>
            </a:r>
            <a:r>
              <a:rPr lang="nl-NL" dirty="0"/>
              <a:t> </a:t>
            </a:r>
            <a:r>
              <a:rPr lang="nl-NL" dirty="0" err="1"/>
              <a:t>June</a:t>
            </a:r>
            <a:r>
              <a:rPr lang="nl-NL" dirty="0"/>
              <a:t> 2021 – </a:t>
            </a:r>
            <a:r>
              <a:rPr lang="nl-NL" dirty="0" err="1"/>
              <a:t>October</a:t>
            </a:r>
            <a:r>
              <a:rPr lang="nl-NL" dirty="0"/>
              <a:t> 2023)</a:t>
            </a:r>
            <a:r>
              <a:rPr lang="nl-NL" dirty="0">
                <a:hlinkClick r:id="rId3"/>
              </a:rPr>
              <a:t> </a:t>
            </a: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/>
              <a:t>Marijke van Thielen – National Project leader </a:t>
            </a:r>
            <a:r>
              <a:rPr lang="nl-NL" dirty="0" err="1"/>
              <a:t>Psychological</a:t>
            </a:r>
            <a:r>
              <a:rPr lang="nl-NL" dirty="0"/>
              <a:t> First </a:t>
            </a:r>
            <a:r>
              <a:rPr lang="nl-NL" dirty="0" err="1"/>
              <a:t>Aid</a:t>
            </a:r>
            <a:r>
              <a:rPr lang="nl-NL" dirty="0"/>
              <a:t> </a:t>
            </a:r>
            <a:r>
              <a:rPr lang="nl-NL" dirty="0">
                <a:hlinkClick r:id="rId4"/>
              </a:rPr>
              <a:t>mvanthielen@redcross.nl</a:t>
            </a:r>
            <a:r>
              <a:rPr lang="nl-NL" dirty="0"/>
              <a:t> (</a:t>
            </a:r>
            <a:r>
              <a:rPr lang="nl-NL" dirty="0" err="1"/>
              <a:t>since</a:t>
            </a:r>
            <a:r>
              <a:rPr lang="nl-NL" dirty="0"/>
              <a:t> </a:t>
            </a:r>
            <a:r>
              <a:rPr lang="nl-NL" dirty="0" err="1"/>
              <a:t>June</a:t>
            </a:r>
            <a:r>
              <a:rPr lang="nl-NL" dirty="0"/>
              <a:t> 2022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/>
              <a:t>Famke Kamphorst – National Coördinator Team </a:t>
            </a:r>
            <a:r>
              <a:rPr lang="nl-NL" dirty="0" err="1"/>
              <a:t>Colleagial</a:t>
            </a:r>
            <a:r>
              <a:rPr lang="nl-NL" dirty="0"/>
              <a:t> Support </a:t>
            </a:r>
            <a:r>
              <a:rPr lang="nl-NL" dirty="0">
                <a:hlinkClick r:id="rId5"/>
              </a:rPr>
              <a:t>fkamphorst@redcross.nl</a:t>
            </a:r>
            <a:r>
              <a:rPr lang="nl-NL" dirty="0"/>
              <a:t> (</a:t>
            </a:r>
            <a:r>
              <a:rPr lang="nl-NL" dirty="0" err="1"/>
              <a:t>since</a:t>
            </a:r>
            <a:r>
              <a:rPr lang="nl-NL" dirty="0"/>
              <a:t> August 2023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dirty="0"/>
              <a:t>Esther </a:t>
            </a:r>
            <a:r>
              <a:rPr lang="nl-NL" dirty="0" err="1"/>
              <a:t>Lemson</a:t>
            </a:r>
            <a:r>
              <a:rPr lang="nl-NL" dirty="0"/>
              <a:t> – Advisor Project Monitoring, Evaluation </a:t>
            </a:r>
            <a:r>
              <a:rPr lang="nl-NL" dirty="0" err="1"/>
              <a:t>and</a:t>
            </a:r>
            <a:r>
              <a:rPr lang="nl-NL" dirty="0"/>
              <a:t> Reporting </a:t>
            </a:r>
            <a:r>
              <a:rPr lang="nl-NL" dirty="0">
                <a:hlinkClick r:id="rId6"/>
              </a:rPr>
              <a:t>elemson@redcross.nl</a:t>
            </a:r>
            <a:r>
              <a:rPr lang="nl-NL" dirty="0"/>
              <a:t> (</a:t>
            </a:r>
            <a:r>
              <a:rPr lang="nl-NL" dirty="0" err="1"/>
              <a:t>since</a:t>
            </a:r>
            <a:r>
              <a:rPr lang="nl-NL" dirty="0"/>
              <a:t> 2019)</a:t>
            </a:r>
          </a:p>
          <a:p>
            <a:endParaRPr lang="nl-NL" dirty="0"/>
          </a:p>
          <a:p>
            <a:r>
              <a:rPr lang="nl-NL" i="1" dirty="0" err="1"/>
              <a:t>Supportive</a:t>
            </a:r>
            <a:r>
              <a:rPr lang="nl-NL" i="1" dirty="0"/>
              <a:t> managers: </a:t>
            </a:r>
          </a:p>
          <a:p>
            <a:r>
              <a:rPr lang="nl-NL" dirty="0"/>
              <a:t>Pieter Boot – Head </a:t>
            </a:r>
            <a:r>
              <a:rPr lang="nl-NL" dirty="0" err="1"/>
              <a:t>Advice</a:t>
            </a:r>
            <a:r>
              <a:rPr lang="nl-NL" dirty="0"/>
              <a:t>, Policy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Strategy</a:t>
            </a:r>
            <a:r>
              <a:rPr lang="nl-NL" dirty="0"/>
              <a:t> </a:t>
            </a:r>
            <a:r>
              <a:rPr lang="nl-NL" dirty="0">
                <a:hlinkClick r:id="rId7"/>
              </a:rPr>
              <a:t>pboot@redcross.nl</a:t>
            </a:r>
            <a:r>
              <a:rPr lang="nl-NL" dirty="0"/>
              <a:t> </a:t>
            </a:r>
          </a:p>
          <a:p>
            <a:r>
              <a:rPr lang="nl-NL" dirty="0"/>
              <a:t>Ruth van Rijn – Head Migration &amp; RFL </a:t>
            </a:r>
            <a:r>
              <a:rPr lang="nl-NL" dirty="0">
                <a:hlinkClick r:id="rId8"/>
              </a:rPr>
              <a:t>rvanrijn@redcross.nl</a:t>
            </a:r>
            <a:endParaRPr lang="nl-NL" dirty="0"/>
          </a:p>
          <a:p>
            <a:endParaRPr lang="nl-NL" dirty="0"/>
          </a:p>
          <a:p>
            <a:pPr lvl="1" algn="l"/>
            <a:r>
              <a:rPr lang="nl-NL" sz="1600" i="1" dirty="0"/>
              <a:t>      </a:t>
            </a:r>
            <a:endParaRPr lang="nl-NL" dirty="0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2BE3132E-D470-B1FD-A0C5-0EBB9B90FD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023FC5B-98A5-49E4-B59C-E073B8952154}" type="slidenum">
              <a:rPr lang="nl-NL" smtClean="0"/>
              <a:pPr/>
              <a:t>33</a:t>
            </a:fld>
            <a:endParaRPr lang="nl-NL"/>
          </a:p>
        </p:txBody>
      </p:sp>
      <p:pic>
        <p:nvPicPr>
          <p:cNvPr id="10" name="Tijdelijke aanduiding voor afbeelding 9" descr="Afbeelding met Menselijk gezicht, persoon, buitenshuis, kleding&#10;&#10;Automatisch gegenereerde beschrijving">
            <a:extLst>
              <a:ext uri="{FF2B5EF4-FFF2-40B4-BE49-F238E27FC236}">
                <a16:creationId xmlns:a16="http://schemas.microsoft.com/office/drawing/2014/main" id="{6D3E0543-60A3-C9C8-4D36-0A004E59479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62" b="19362"/>
          <a:stretch>
            <a:fillRect/>
          </a:stretch>
        </p:blipFill>
        <p:spPr bwMode="auto">
          <a:xfrm>
            <a:off x="10310660" y="1"/>
            <a:ext cx="1881339" cy="1152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Afbeelding 4" descr="Afbeelding met Menselijk gezicht, persoon, glimlach, kleding&#10;&#10;Automatisch gegenereerde beschrijving">
            <a:extLst>
              <a:ext uri="{FF2B5EF4-FFF2-40B4-BE49-F238E27FC236}">
                <a16:creationId xmlns:a16="http://schemas.microsoft.com/office/drawing/2014/main" id="{6F248121-110B-02E2-F67E-85D91668840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0660" y="1125614"/>
            <a:ext cx="1881340" cy="1711777"/>
          </a:xfrm>
          <a:prstGeom prst="rect">
            <a:avLst/>
          </a:prstGeom>
        </p:spPr>
      </p:pic>
      <p:pic>
        <p:nvPicPr>
          <p:cNvPr id="14" name="Tijdelijke aanduiding voor afbeelding 13" descr="Afbeelding met Menselijk gezicht, persoon, kleding, glimlach&#10;&#10;Automatisch gegenereerde beschrijving">
            <a:extLst>
              <a:ext uri="{FF2B5EF4-FFF2-40B4-BE49-F238E27FC236}">
                <a16:creationId xmlns:a16="http://schemas.microsoft.com/office/drawing/2014/main" id="{9726CDDA-AE33-02DA-55EF-03F2A13C5763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62" b="19362"/>
          <a:stretch>
            <a:fillRect/>
          </a:stretch>
        </p:blipFill>
        <p:spPr>
          <a:xfrm>
            <a:off x="10312400" y="2305596"/>
            <a:ext cx="1897223" cy="1196757"/>
          </a:xfrm>
        </p:spPr>
      </p:pic>
      <p:pic>
        <p:nvPicPr>
          <p:cNvPr id="4" name="Afbeelding 5" descr="Afbeelding met persoon, vrouw, overdekt&#10;&#10;Automatisch gegenereerde beschrijving">
            <a:extLst>
              <a:ext uri="{FF2B5EF4-FFF2-40B4-BE49-F238E27FC236}">
                <a16:creationId xmlns:a16="http://schemas.microsoft.com/office/drawing/2014/main" id="{053B3DB7-9F57-CE11-8003-9A222B5186A7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11577" t="8964" r="15484" b="45524"/>
          <a:stretch/>
        </p:blipFill>
        <p:spPr>
          <a:xfrm>
            <a:off x="8092260" y="0"/>
            <a:ext cx="1847850" cy="1152978"/>
          </a:xfrm>
          <a:prstGeom prst="rect">
            <a:avLst/>
          </a:prstGeom>
        </p:spPr>
      </p:pic>
      <p:pic>
        <p:nvPicPr>
          <p:cNvPr id="8" name="Tijdelijke aanduiding voor inhoud 3">
            <a:extLst>
              <a:ext uri="{FF2B5EF4-FFF2-40B4-BE49-F238E27FC236}">
                <a16:creationId xmlns:a16="http://schemas.microsoft.com/office/drawing/2014/main" id="{268F0340-554F-37D6-EABA-0D62F58712D9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10" t="8105" b="48647"/>
          <a:stretch/>
        </p:blipFill>
        <p:spPr>
          <a:xfrm>
            <a:off x="10310660" y="4475520"/>
            <a:ext cx="1881338" cy="1021913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26782B06-DDE7-4363-0070-5F12A6608427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5979"/>
          <a:stretch/>
        </p:blipFill>
        <p:spPr>
          <a:xfrm>
            <a:off x="10312399" y="5497433"/>
            <a:ext cx="1897223" cy="1379960"/>
          </a:xfrm>
          <a:prstGeom prst="rect">
            <a:avLst/>
          </a:prstGeom>
        </p:spPr>
      </p:pic>
      <p:pic>
        <p:nvPicPr>
          <p:cNvPr id="1026" name="Picture 2" descr="Esther Lemsom">
            <a:extLst>
              <a:ext uri="{FF2B5EF4-FFF2-40B4-BE49-F238E27FC236}">
                <a16:creationId xmlns:a16="http://schemas.microsoft.com/office/drawing/2014/main" id="{73186A32-82F3-6F71-F25C-83A9BE2E8E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34" b="27301"/>
          <a:stretch/>
        </p:blipFill>
        <p:spPr bwMode="auto">
          <a:xfrm>
            <a:off x="10310660" y="3426202"/>
            <a:ext cx="1985753" cy="1073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55091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3FC5B-98A5-49E4-B59C-E073B8952154}" type="slidenum">
              <a:rPr lang="nl-NL" smtClean="0"/>
              <a:pPr/>
              <a:t>34</a:t>
            </a:fld>
            <a:endParaRPr lang="nl-NL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479425" y="3652972"/>
            <a:ext cx="11233150" cy="1827934"/>
          </a:xfrm>
        </p:spPr>
        <p:txBody>
          <a:bodyPr/>
          <a:lstStyle/>
          <a:p>
            <a:pPr algn="ctr"/>
            <a:r>
              <a:rPr lang="nl-NL" dirty="0" err="1">
                <a:solidFill>
                  <a:schemeClr val="accent6"/>
                </a:solidFill>
              </a:rPr>
              <a:t>Thank</a:t>
            </a:r>
            <a:r>
              <a:rPr lang="nl-NL" dirty="0">
                <a:solidFill>
                  <a:schemeClr val="accent6"/>
                </a:solidFill>
              </a:rPr>
              <a:t> </a:t>
            </a:r>
            <a:r>
              <a:rPr lang="nl-NL" dirty="0" err="1">
                <a:solidFill>
                  <a:schemeClr val="accent6"/>
                </a:solidFill>
              </a:rPr>
              <a:t>you</a:t>
            </a:r>
            <a:r>
              <a:rPr lang="nl-NL" dirty="0">
                <a:solidFill>
                  <a:schemeClr val="accent6"/>
                </a:solidFill>
              </a:rPr>
              <a:t>!</a:t>
            </a:r>
            <a:br>
              <a:rPr lang="nl-NL" dirty="0"/>
            </a:br>
            <a:r>
              <a:rPr lang="nl-NL" dirty="0"/>
              <a:t>voor een ander</a:t>
            </a:r>
            <a:br>
              <a:rPr lang="nl-NL" dirty="0"/>
            </a:br>
            <a:r>
              <a:rPr lang="nl-NL" dirty="0"/>
              <a:t>voor jezelf</a:t>
            </a:r>
            <a:br>
              <a:rPr lang="nl-NL" dirty="0"/>
            </a:br>
            <a:r>
              <a:rPr lang="nl-NL" dirty="0"/>
              <a:t>voor elkaar</a:t>
            </a:r>
          </a:p>
        </p:txBody>
      </p:sp>
      <p:pic>
        <p:nvPicPr>
          <p:cNvPr id="7170" name="Picture 2">
            <a:extLst>
              <a:ext uri="{FF2B5EF4-FFF2-40B4-BE49-F238E27FC236}">
                <a16:creationId xmlns:a16="http://schemas.microsoft.com/office/drawing/2014/main" id="{2109F0B7-C704-07FC-3D6B-8BD7AF9005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4009" y="905154"/>
            <a:ext cx="2763982" cy="2763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Rechte verbindingslijn 3">
            <a:extLst>
              <a:ext uri="{FF2B5EF4-FFF2-40B4-BE49-F238E27FC236}">
                <a16:creationId xmlns:a16="http://schemas.microsoft.com/office/drawing/2014/main" id="{AF6C650B-EB33-3C45-6B8F-876D85DDE097}"/>
              </a:ext>
            </a:extLst>
          </p:cNvPr>
          <p:cNvCxnSpPr/>
          <p:nvPr/>
        </p:nvCxnSpPr>
        <p:spPr>
          <a:xfrm>
            <a:off x="4368800" y="5480906"/>
            <a:ext cx="3435927" cy="0"/>
          </a:xfrm>
          <a:prstGeom prst="line">
            <a:avLst/>
          </a:prstGeom>
          <a:ln w="349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61156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9D33587E-B574-9B09-5222-8B466D6FF94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3030" y="0"/>
            <a:ext cx="9978970" cy="7065476"/>
          </a:xfrm>
          <a:prstGeom prst="rect">
            <a:avLst/>
          </a:prstGeom>
        </p:spPr>
      </p:pic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74769EDF-B9C1-1CCC-9CF5-97A24A2AF83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2000" y="7020000"/>
            <a:ext cx="517088" cy="216000"/>
          </a:xfrm>
        </p:spPr>
        <p:txBody>
          <a:bodyPr/>
          <a:lstStyle/>
          <a:p>
            <a:pPr>
              <a:spcAft>
                <a:spcPts val="600"/>
              </a:spcAft>
            </a:pPr>
            <a:fld id="{4023FC5B-98A5-49E4-B59C-E073B8952154}" type="slidenum">
              <a:rPr lang="nl-NL" smtClean="0"/>
              <a:pPr>
                <a:spcAft>
                  <a:spcPts val="600"/>
                </a:spcAft>
              </a:pPr>
              <a:t>4</a:t>
            </a:fld>
            <a:endParaRPr lang="nl-NL"/>
          </a:p>
        </p:txBody>
      </p:sp>
      <p:sp>
        <p:nvSpPr>
          <p:cNvPr id="6" name="Oval 4">
            <a:extLst>
              <a:ext uri="{FF2B5EF4-FFF2-40B4-BE49-F238E27FC236}">
                <a16:creationId xmlns:a16="http://schemas.microsoft.com/office/drawing/2014/main" id="{DD32947A-114F-E8D8-172E-1286BF937815}"/>
              </a:ext>
            </a:extLst>
          </p:cNvPr>
          <p:cNvSpPr/>
          <p:nvPr/>
        </p:nvSpPr>
        <p:spPr>
          <a:xfrm>
            <a:off x="9298334" y="3219450"/>
            <a:ext cx="1503016" cy="313288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  <a:ea typeface="Source Sans Pro"/>
            </a:endParaRPr>
          </a:p>
        </p:txBody>
      </p:sp>
    </p:spTree>
    <p:extLst>
      <p:ext uri="{BB962C8B-B14F-4D97-AF65-F5344CB8AC3E}">
        <p14:creationId xmlns:p14="http://schemas.microsoft.com/office/powerpoint/2010/main" val="33810652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>
            <a:extLst>
              <a:ext uri="{FF2B5EF4-FFF2-40B4-BE49-F238E27FC236}">
                <a16:creationId xmlns:a16="http://schemas.microsoft.com/office/drawing/2014/main" id="{147DD532-6649-4E42-B363-C7B68C9B3F0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7451" t="50000" r="29368" b="18871"/>
          <a:stretch/>
        </p:blipFill>
        <p:spPr>
          <a:xfrm>
            <a:off x="6339687" y="830169"/>
            <a:ext cx="5520902" cy="3193057"/>
          </a:xfrm>
          <a:prstGeom prst="rect">
            <a:avLst/>
          </a:prstGeom>
          <a:noFill/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0E4C4836-8694-43BF-ADBB-0F24BAA3DE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575" y="564203"/>
            <a:ext cx="5379113" cy="830444"/>
          </a:xfrm>
        </p:spPr>
        <p:txBody>
          <a:bodyPr vert="horz" lIns="36000" tIns="36000" rIns="36000" bIns="36000" rtlCol="0" anchor="t">
            <a:noAutofit/>
          </a:bodyPr>
          <a:lstStyle/>
          <a:p>
            <a:pPr algn="ctr"/>
            <a:r>
              <a:rPr lang="en-US" dirty="0"/>
              <a:t>For the NLRC, Psychosocial Support aims to strengthen the resilience of people in need, and the resilience of our staff and volunteers</a:t>
            </a:r>
          </a:p>
        </p:txBody>
      </p:sp>
      <p:sp>
        <p:nvSpPr>
          <p:cNvPr id="5" name="Rectangle 9">
            <a:extLst>
              <a:ext uri="{FF2B5EF4-FFF2-40B4-BE49-F238E27FC236}">
                <a16:creationId xmlns:a16="http://schemas.microsoft.com/office/drawing/2014/main" id="{E4320200-6200-622C-A158-C60333CC04BB}"/>
              </a:ext>
            </a:extLst>
          </p:cNvPr>
          <p:cNvSpPr/>
          <p:nvPr/>
        </p:nvSpPr>
        <p:spPr>
          <a:xfrm>
            <a:off x="6597140" y="3840499"/>
            <a:ext cx="5075236" cy="648000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algn="ctr" defTabSz="288000">
              <a:lnSpc>
                <a:spcPct val="90000"/>
              </a:lnSpc>
              <a:spcAft>
                <a:spcPts val="600"/>
              </a:spcAft>
            </a:pPr>
            <a:endParaRPr lang="nl-NL" sz="2800" b="1" kern="1200" spc="60" baseline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  <a:p>
            <a:pPr algn="ctr" defTabSz="288000">
              <a:lnSpc>
                <a:spcPct val="90000"/>
              </a:lnSpc>
              <a:spcAft>
                <a:spcPts val="600"/>
              </a:spcAft>
            </a:pPr>
            <a:r>
              <a:rPr lang="nl-NL" sz="2800" b="1" kern="1200" spc="60" baseline="0" dirty="0" err="1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Resilience</a:t>
            </a:r>
            <a:r>
              <a:rPr lang="nl-NL" sz="2800" b="1" kern="1200" spc="6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is the </a:t>
            </a:r>
            <a:r>
              <a:rPr lang="nl-NL" sz="2800" b="1" kern="1200" spc="60" baseline="0" dirty="0" err="1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bility</a:t>
            </a:r>
            <a:r>
              <a:rPr lang="nl-NL" sz="2800" b="1" kern="1200" spc="6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to </a:t>
            </a:r>
            <a:r>
              <a:rPr lang="nl-NL" sz="2800" b="1" kern="1200" spc="60" baseline="0" dirty="0" err="1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recover</a:t>
            </a:r>
            <a:r>
              <a:rPr lang="nl-NL" sz="2800" b="1" kern="1200" spc="6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2800" b="1" kern="1200" spc="60" baseline="0" dirty="0" err="1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from</a:t>
            </a:r>
            <a:r>
              <a:rPr lang="nl-NL" sz="2800" b="1" kern="1200" spc="6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stress </a:t>
            </a:r>
            <a:r>
              <a:rPr lang="nl-NL" sz="2800" b="1" kern="1200" spc="60" baseline="0" dirty="0" err="1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and</a:t>
            </a:r>
            <a:r>
              <a:rPr lang="nl-NL" sz="2800" b="1" kern="1200" spc="6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 </a:t>
            </a:r>
            <a:r>
              <a:rPr lang="nl-NL" sz="2800" b="1" kern="1200" spc="60" baseline="0" dirty="0" err="1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misfortune</a:t>
            </a:r>
            <a:endParaRPr lang="nl-NL" sz="2800" b="1" kern="1200" spc="60" baseline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  <a:p>
            <a:pPr algn="ctr" defTabSz="288000">
              <a:lnSpc>
                <a:spcPct val="90000"/>
              </a:lnSpc>
              <a:spcAft>
                <a:spcPts val="600"/>
              </a:spcAft>
            </a:pPr>
            <a:endParaRPr lang="nl-NL" sz="2800" b="1" kern="1200" spc="60" baseline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8769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 descr="Afbeelding met persoon, buitenshuis, gras, hand&#10;&#10;Automatisch gegenereerde beschrijving">
            <a:extLst>
              <a:ext uri="{FF2B5EF4-FFF2-40B4-BE49-F238E27FC236}">
                <a16:creationId xmlns:a16="http://schemas.microsoft.com/office/drawing/2014/main" id="{17E2C2B7-A920-5E5E-31EE-5319B46A29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50" y="-328613"/>
            <a:ext cx="12191980" cy="8027521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237B058C-C3B0-3A96-F594-D55645AECB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464004"/>
            <a:ext cx="11233150" cy="830444"/>
          </a:xfrm>
        </p:spPr>
        <p:txBody>
          <a:bodyPr/>
          <a:lstStyle/>
          <a:p>
            <a:r>
              <a:rPr lang="nl-NL" sz="4000" dirty="0">
                <a:solidFill>
                  <a:schemeClr val="tx1"/>
                </a:solidFill>
              </a:rPr>
              <a:t>Minimum standard </a:t>
            </a:r>
            <a:r>
              <a:rPr lang="nl-NL" sz="4000" dirty="0" err="1">
                <a:solidFill>
                  <a:schemeClr val="tx1"/>
                </a:solidFill>
              </a:rPr>
              <a:t>for</a:t>
            </a:r>
            <a:r>
              <a:rPr lang="nl-NL" sz="4000" dirty="0">
                <a:solidFill>
                  <a:schemeClr val="tx1"/>
                </a:solidFill>
              </a:rPr>
              <a:t> PSS:</a:t>
            </a:r>
            <a:br>
              <a:rPr lang="nl-NL" dirty="0">
                <a:solidFill>
                  <a:schemeClr val="bg1"/>
                </a:solidFill>
              </a:rPr>
            </a:br>
            <a:br>
              <a:rPr lang="nl-NL" dirty="0">
                <a:solidFill>
                  <a:schemeClr val="tx1"/>
                </a:solidFill>
              </a:rPr>
            </a:br>
            <a:r>
              <a:rPr lang="en-US" sz="2000" b="0" i="0" dirty="0">
                <a:solidFill>
                  <a:schemeClr val="tx1"/>
                </a:solidFill>
                <a:latin typeface="Roboto" panose="02000000000000000000" pitchFamily="2" charset="0"/>
              </a:rPr>
              <a:t>Someone is in psychosocial need when they have psychological problems:</a:t>
            </a:r>
            <a:br>
              <a:rPr lang="en-US" sz="2000" b="0" i="0" dirty="0">
                <a:solidFill>
                  <a:schemeClr val="tx1"/>
                </a:solidFill>
                <a:latin typeface="Roboto" panose="02000000000000000000" pitchFamily="2" charset="0"/>
              </a:rPr>
            </a:br>
            <a:br>
              <a:rPr lang="en-US" sz="2000" b="0" i="0" dirty="0">
                <a:solidFill>
                  <a:schemeClr val="tx1"/>
                </a:solidFill>
                <a:latin typeface="Roboto" panose="02000000000000000000" pitchFamily="2" charset="0"/>
              </a:rPr>
            </a:br>
            <a:r>
              <a:rPr lang="en-US" sz="2000" b="0" i="0" dirty="0">
                <a:solidFill>
                  <a:schemeClr val="tx1"/>
                </a:solidFill>
                <a:latin typeface="Roboto" panose="02000000000000000000" pitchFamily="2" charset="0"/>
              </a:rPr>
              <a:t>1. that disrupt general daily functioning (work, living, social relationships); </a:t>
            </a:r>
            <a:br>
              <a:rPr lang="en-US" sz="2000" b="0" i="0" dirty="0">
                <a:solidFill>
                  <a:schemeClr val="tx1"/>
                </a:solidFill>
                <a:latin typeface="Roboto" panose="02000000000000000000" pitchFamily="2" charset="0"/>
              </a:rPr>
            </a:br>
            <a:r>
              <a:rPr lang="en-US" sz="2000" b="0" i="0" dirty="0">
                <a:solidFill>
                  <a:schemeClr val="tx1"/>
                </a:solidFill>
                <a:latin typeface="Roboto" panose="02000000000000000000" pitchFamily="2" charset="0"/>
              </a:rPr>
              <a:t>2. that cannot be solved by the person himself or with help from the environment (family, friends, neighbors, volunteers, acquaintances); </a:t>
            </a:r>
            <a:br>
              <a:rPr lang="en-US" sz="2000" b="0" i="0" dirty="0">
                <a:solidFill>
                  <a:schemeClr val="tx1"/>
                </a:solidFill>
                <a:latin typeface="Roboto" panose="02000000000000000000" pitchFamily="2" charset="0"/>
              </a:rPr>
            </a:br>
            <a:r>
              <a:rPr lang="en-US" sz="2000" b="0" i="0" dirty="0">
                <a:solidFill>
                  <a:schemeClr val="tx1"/>
                </a:solidFill>
                <a:latin typeface="Roboto" panose="02000000000000000000" pitchFamily="2" charset="0"/>
              </a:rPr>
              <a:t>3. and for which the necessary professional care and support is lacking, as described.</a:t>
            </a:r>
            <a:endParaRPr lang="nl-NL" dirty="0">
              <a:solidFill>
                <a:schemeClr val="tx1"/>
              </a:solidFill>
            </a:endParaRP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EF316567-0257-C792-B014-9963ED4FDB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3FC5B-98A5-49E4-B59C-E073B8952154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692780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E1466F09-B143-E7B4-7FB8-4ACD45862B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164771"/>
            <a:ext cx="11233150" cy="435179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l-NL" sz="2000" b="1" dirty="0" err="1"/>
              <a:t>Theory</a:t>
            </a:r>
            <a:r>
              <a:rPr lang="nl-NL" sz="2000" b="1" dirty="0"/>
              <a:t> of Change of NLRC 2021-2025</a:t>
            </a:r>
            <a:r>
              <a:rPr lang="nl-NL" sz="2000" dirty="0"/>
              <a:t>: “To </a:t>
            </a:r>
            <a:r>
              <a:rPr lang="nl-NL" sz="2000" dirty="0" err="1"/>
              <a:t>strenghten</a:t>
            </a:r>
            <a:r>
              <a:rPr lang="nl-NL" sz="2000" dirty="0"/>
              <a:t> the human base”</a:t>
            </a:r>
          </a:p>
          <a:p>
            <a:pPr marL="0" indent="0">
              <a:buNone/>
            </a:pPr>
            <a:r>
              <a:rPr lang="nl-NL" sz="2000" b="1" dirty="0" err="1"/>
              <a:t>Ambition</a:t>
            </a:r>
            <a:r>
              <a:rPr lang="nl-NL" sz="2000" b="1" dirty="0"/>
              <a:t> of NLRC 2021-2025</a:t>
            </a:r>
            <a:r>
              <a:rPr lang="nl-NL" sz="2000" dirty="0"/>
              <a:t>: “In </a:t>
            </a:r>
            <a:r>
              <a:rPr lang="nl-NL" sz="2000" dirty="0" err="1"/>
              <a:t>times</a:t>
            </a:r>
            <a:r>
              <a:rPr lang="nl-NL" sz="2000" dirty="0"/>
              <a:t> of </a:t>
            </a:r>
            <a:r>
              <a:rPr lang="nl-NL" sz="2000" dirty="0" err="1"/>
              <a:t>need</a:t>
            </a:r>
            <a:r>
              <a:rPr lang="nl-NL" sz="2000" dirty="0"/>
              <a:t>, </a:t>
            </a:r>
            <a:r>
              <a:rPr lang="nl-NL" sz="2000" dirty="0" err="1"/>
              <a:t>nobody</a:t>
            </a:r>
            <a:r>
              <a:rPr lang="nl-NL" sz="2000" dirty="0"/>
              <a:t> </a:t>
            </a:r>
            <a:r>
              <a:rPr lang="nl-NL" sz="2000" dirty="0" err="1"/>
              <a:t>should</a:t>
            </a:r>
            <a:r>
              <a:rPr lang="nl-NL" sz="2000" dirty="0"/>
              <a:t> stand </a:t>
            </a:r>
            <a:r>
              <a:rPr lang="nl-NL" sz="2000" dirty="0" err="1"/>
              <a:t>alone</a:t>
            </a:r>
            <a:r>
              <a:rPr lang="nl-NL" sz="2000" dirty="0"/>
              <a:t>, </a:t>
            </a:r>
            <a:r>
              <a:rPr lang="nl-NL" sz="2000" dirty="0" err="1"/>
              <a:t>since</a:t>
            </a:r>
            <a:r>
              <a:rPr lang="nl-NL" sz="2000" dirty="0"/>
              <a:t> </a:t>
            </a:r>
            <a:r>
              <a:rPr lang="nl-NL" sz="2000" dirty="0" err="1"/>
              <a:t>each</a:t>
            </a:r>
            <a:r>
              <a:rPr lang="nl-NL" sz="2000" dirty="0"/>
              <a:t> human </a:t>
            </a:r>
            <a:r>
              <a:rPr lang="nl-NL" sz="2000" dirty="0" err="1"/>
              <a:t>being</a:t>
            </a:r>
            <a:r>
              <a:rPr lang="nl-NL" sz="2000" dirty="0"/>
              <a:t> </a:t>
            </a:r>
            <a:r>
              <a:rPr lang="nl-NL" sz="2000" dirty="0" err="1"/>
              <a:t>that</a:t>
            </a:r>
            <a:r>
              <a:rPr lang="nl-NL" sz="2000" dirty="0"/>
              <a:t> is in </a:t>
            </a:r>
            <a:r>
              <a:rPr lang="nl-NL" sz="2000" dirty="0" err="1"/>
              <a:t>need</a:t>
            </a:r>
            <a:r>
              <a:rPr lang="nl-NL" sz="2000" dirty="0"/>
              <a:t> or </a:t>
            </a:r>
            <a:r>
              <a:rPr lang="nl-NL" sz="2000" dirty="0" err="1"/>
              <a:t>might</a:t>
            </a:r>
            <a:r>
              <a:rPr lang="nl-NL" sz="2000" dirty="0"/>
              <a:t> </a:t>
            </a:r>
            <a:r>
              <a:rPr lang="nl-NL" sz="2000" dirty="0" err="1"/>
              <a:t>become</a:t>
            </a:r>
            <a:r>
              <a:rPr lang="nl-NL" sz="2000" dirty="0"/>
              <a:t> in </a:t>
            </a:r>
            <a:r>
              <a:rPr lang="nl-NL" sz="2000" dirty="0" err="1"/>
              <a:t>need</a:t>
            </a:r>
            <a:r>
              <a:rPr lang="nl-NL" sz="2000" dirty="0"/>
              <a:t>, </a:t>
            </a:r>
            <a:r>
              <a:rPr lang="nl-NL" sz="2000" dirty="0" err="1"/>
              <a:t>will</a:t>
            </a:r>
            <a:r>
              <a:rPr lang="nl-NL" sz="2000" dirty="0"/>
              <a:t> get </a:t>
            </a:r>
            <a:r>
              <a:rPr lang="nl-NL" sz="2000" dirty="0" err="1"/>
              <a:t>further</a:t>
            </a:r>
            <a:r>
              <a:rPr lang="nl-NL" sz="2000" dirty="0"/>
              <a:t> </a:t>
            </a:r>
            <a:r>
              <a:rPr lang="nl-NL" sz="2000" dirty="0" err="1"/>
              <a:t>with</a:t>
            </a:r>
            <a:r>
              <a:rPr lang="nl-NL" sz="2000" dirty="0"/>
              <a:t> proper support.”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1746FD-0550-44DE-918F-91037BAA3F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60249"/>
            <a:ext cx="11233150" cy="535101"/>
          </a:xfrm>
        </p:spPr>
        <p:txBody>
          <a:bodyPr/>
          <a:lstStyle/>
          <a:p>
            <a:r>
              <a:rPr lang="nl-NL" dirty="0">
                <a:solidFill>
                  <a:schemeClr val="accent1"/>
                </a:solidFill>
              </a:rPr>
              <a:t>PMER: We </a:t>
            </a:r>
            <a:r>
              <a:rPr lang="nl-NL" dirty="0" err="1">
                <a:solidFill>
                  <a:schemeClr val="accent1"/>
                </a:solidFill>
              </a:rPr>
              <a:t>measure</a:t>
            </a:r>
            <a:r>
              <a:rPr lang="nl-NL" dirty="0">
                <a:solidFill>
                  <a:schemeClr val="accent1"/>
                </a:solidFill>
              </a:rPr>
              <a:t> the </a:t>
            </a:r>
            <a:r>
              <a:rPr lang="nl-NL" dirty="0" err="1">
                <a:solidFill>
                  <a:schemeClr val="accent1"/>
                </a:solidFill>
              </a:rPr>
              <a:t>outcomes</a:t>
            </a:r>
            <a:r>
              <a:rPr lang="nl-NL" dirty="0">
                <a:solidFill>
                  <a:schemeClr val="accent1"/>
                </a:solidFill>
              </a:rPr>
              <a:t> </a:t>
            </a:r>
            <a:r>
              <a:rPr lang="nl-NL" dirty="0" err="1">
                <a:solidFill>
                  <a:schemeClr val="accent1"/>
                </a:solidFill>
              </a:rPr>
              <a:t>and</a:t>
            </a:r>
            <a:r>
              <a:rPr lang="nl-NL" dirty="0">
                <a:solidFill>
                  <a:schemeClr val="accent1"/>
                </a:solidFill>
              </a:rPr>
              <a:t> impact of PSS </a:t>
            </a:r>
            <a:endParaRPr lang="nl-NL" i="1" dirty="0">
              <a:solidFill>
                <a:schemeClr val="accent1"/>
              </a:solidFill>
            </a:endParaRP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A1469938-1851-B3DA-D737-36076726B2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3FC5B-98A5-49E4-B59C-E073B8952154}" type="slidenum">
              <a:rPr lang="nl-NL" smtClean="0"/>
              <a:pPr/>
              <a:t>7</a:t>
            </a:fld>
            <a:endParaRPr lang="nl-NL"/>
          </a:p>
        </p:txBody>
      </p:sp>
      <p:graphicFrame>
        <p:nvGraphicFramePr>
          <p:cNvPr id="5" name="Tabel 4">
            <a:extLst>
              <a:ext uri="{FF2B5EF4-FFF2-40B4-BE49-F238E27FC236}">
                <a16:creationId xmlns:a16="http://schemas.microsoft.com/office/drawing/2014/main" id="{2C4B2517-96DC-2B87-8BB5-9D41116D22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0696819"/>
              </p:ext>
            </p:extLst>
          </p:nvPr>
        </p:nvGraphicFramePr>
        <p:xfrm>
          <a:off x="515938" y="2616200"/>
          <a:ext cx="10716062" cy="2870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58031">
                  <a:extLst>
                    <a:ext uri="{9D8B030D-6E8A-4147-A177-3AD203B41FA5}">
                      <a16:colId xmlns:a16="http://schemas.microsoft.com/office/drawing/2014/main" val="3073157741"/>
                    </a:ext>
                  </a:extLst>
                </a:gridCol>
                <a:gridCol w="5358031">
                  <a:extLst>
                    <a:ext uri="{9D8B030D-6E8A-4147-A177-3AD203B41FA5}">
                      <a16:colId xmlns:a16="http://schemas.microsoft.com/office/drawing/2014/main" val="1914675530"/>
                    </a:ext>
                  </a:extLst>
                </a:gridCol>
              </a:tblGrid>
              <a:tr h="554080">
                <a:tc>
                  <a:txBody>
                    <a:bodyPr/>
                    <a:lstStyle/>
                    <a:p>
                      <a:r>
                        <a:rPr lang="nl-NL" sz="2000" dirty="0"/>
                        <a:t>PSS </a:t>
                      </a:r>
                      <a:r>
                        <a:rPr lang="nl-NL" sz="2000" dirty="0" err="1"/>
                        <a:t>Outcomes</a:t>
                      </a:r>
                      <a:endParaRPr lang="nl-N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2000" dirty="0"/>
                        <a:t>PSS Impac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2564864"/>
                  </a:ext>
                </a:extLst>
              </a:tr>
              <a:tr h="1217415">
                <a:tc>
                  <a:txBody>
                    <a:bodyPr/>
                    <a:lstStyle/>
                    <a:p>
                      <a:r>
                        <a:rPr lang="nl-NL" sz="2000" dirty="0"/>
                        <a:t>People </a:t>
                      </a:r>
                      <a:r>
                        <a:rPr lang="nl-NL" sz="2000" dirty="0" err="1"/>
                        <a:t>experience</a:t>
                      </a:r>
                      <a:r>
                        <a:rPr lang="nl-NL" sz="2000" dirty="0"/>
                        <a:t> a </a:t>
                      </a:r>
                      <a:r>
                        <a:rPr lang="nl-NL" sz="2000" dirty="0" err="1"/>
                        <a:t>miminum</a:t>
                      </a:r>
                      <a:r>
                        <a:rPr lang="nl-NL" sz="2000" dirty="0"/>
                        <a:t> of </a:t>
                      </a:r>
                      <a:r>
                        <a:rPr lang="nl-NL" sz="2000" dirty="0" err="1"/>
                        <a:t>psychosocial</a:t>
                      </a:r>
                      <a:r>
                        <a:rPr lang="nl-NL" sz="2000" dirty="0"/>
                        <a:t> </a:t>
                      </a:r>
                      <a:r>
                        <a:rPr lang="nl-NL" sz="2000" dirty="0" err="1"/>
                        <a:t>needs</a:t>
                      </a:r>
                      <a:r>
                        <a:rPr lang="nl-NL" sz="2000" dirty="0"/>
                        <a:t> as a </a:t>
                      </a:r>
                      <a:r>
                        <a:rPr lang="nl-NL" sz="2000" dirty="0" err="1"/>
                        <a:t>consequences</a:t>
                      </a:r>
                      <a:r>
                        <a:rPr lang="nl-NL" sz="2000" dirty="0"/>
                        <a:t> of crises or  </a:t>
                      </a:r>
                      <a:r>
                        <a:rPr lang="nl-NL" sz="2000" dirty="0" err="1"/>
                        <a:t>calimities</a:t>
                      </a:r>
                      <a:r>
                        <a:rPr lang="nl-NL" sz="2000" dirty="0"/>
                        <a:t> </a:t>
                      </a:r>
                      <a:r>
                        <a:rPr lang="nl-NL" sz="2000" dirty="0" err="1"/>
                        <a:t>and</a:t>
                      </a:r>
                      <a:r>
                        <a:rPr lang="nl-NL" sz="2000" dirty="0"/>
                        <a:t> </a:t>
                      </a:r>
                      <a:r>
                        <a:rPr lang="nl-NL" sz="2000" dirty="0" err="1"/>
                        <a:t>receive</a:t>
                      </a:r>
                      <a:r>
                        <a:rPr lang="nl-NL" sz="2000" dirty="0"/>
                        <a:t> </a:t>
                      </a:r>
                      <a:r>
                        <a:rPr lang="nl-NL" sz="2000" dirty="0" err="1"/>
                        <a:t>psychosocial</a:t>
                      </a:r>
                      <a:r>
                        <a:rPr lang="nl-NL" sz="2000" dirty="0"/>
                        <a:t> support </a:t>
                      </a:r>
                      <a:r>
                        <a:rPr lang="nl-NL" sz="2000" dirty="0" err="1"/>
                        <a:t>that</a:t>
                      </a:r>
                      <a:r>
                        <a:rPr lang="nl-NL" sz="2000" dirty="0"/>
                        <a:t> </a:t>
                      </a:r>
                      <a:r>
                        <a:rPr lang="nl-NL" sz="2000" dirty="0" err="1"/>
                        <a:t>they</a:t>
                      </a:r>
                      <a:r>
                        <a:rPr lang="nl-NL" sz="2000" dirty="0"/>
                        <a:t> </a:t>
                      </a:r>
                      <a:r>
                        <a:rPr lang="nl-NL" sz="2000" dirty="0" err="1"/>
                        <a:t>need</a:t>
                      </a:r>
                      <a:r>
                        <a:rPr lang="nl-NL" sz="2000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l-NL" sz="2000" dirty="0"/>
                        <a:t>Every person in the Netherlands has access to proper </a:t>
                      </a:r>
                      <a:r>
                        <a:rPr lang="nl-NL" sz="2000" dirty="0" err="1"/>
                        <a:t>psychosocial</a:t>
                      </a:r>
                      <a:r>
                        <a:rPr lang="nl-NL" sz="2000" dirty="0"/>
                        <a:t> support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8434503"/>
                  </a:ext>
                </a:extLst>
              </a:tr>
              <a:tr h="567373">
                <a:tc>
                  <a:txBody>
                    <a:bodyPr/>
                    <a:lstStyle/>
                    <a:p>
                      <a:r>
                        <a:rPr lang="nl-NL" sz="2000" dirty="0"/>
                        <a:t>The help providers </a:t>
                      </a:r>
                      <a:r>
                        <a:rPr lang="nl-NL" sz="2000" dirty="0" err="1"/>
                        <a:t>and</a:t>
                      </a:r>
                      <a:r>
                        <a:rPr lang="nl-NL" sz="2000" dirty="0"/>
                        <a:t> support of the NLRC support the </a:t>
                      </a:r>
                      <a:r>
                        <a:rPr lang="nl-NL" sz="2000" dirty="0" err="1"/>
                        <a:t>psychosocial</a:t>
                      </a:r>
                      <a:r>
                        <a:rPr lang="nl-NL" sz="2000" dirty="0"/>
                        <a:t> </a:t>
                      </a:r>
                      <a:r>
                        <a:rPr lang="nl-NL" sz="2000" dirty="0" err="1"/>
                        <a:t>wellbeing</a:t>
                      </a:r>
                      <a:r>
                        <a:rPr lang="nl-NL" sz="2000" dirty="0"/>
                        <a:t> </a:t>
                      </a:r>
                      <a:r>
                        <a:rPr lang="nl-NL" sz="2000" dirty="0" err="1"/>
                        <a:t>and</a:t>
                      </a:r>
                      <a:r>
                        <a:rPr lang="nl-NL" sz="2000" dirty="0"/>
                        <a:t> health of </a:t>
                      </a:r>
                      <a:r>
                        <a:rPr lang="nl-NL" sz="2000" dirty="0" err="1"/>
                        <a:t>people</a:t>
                      </a:r>
                      <a:r>
                        <a:rPr lang="nl-NL" sz="2000" dirty="0"/>
                        <a:t> in </a:t>
                      </a:r>
                      <a:r>
                        <a:rPr lang="nl-NL" sz="2000" dirty="0" err="1"/>
                        <a:t>need</a:t>
                      </a:r>
                      <a:r>
                        <a:rPr lang="nl-NL" sz="2000" dirty="0"/>
                        <a:t>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nl-NL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59190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45968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DB72908E-DA24-1CC2-61CD-EAE91B355D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92"/>
          <a:stretch/>
        </p:blipFill>
        <p:spPr bwMode="auto">
          <a:xfrm>
            <a:off x="2795539" y="4183241"/>
            <a:ext cx="2824211" cy="2674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73D11478-B15C-7298-A712-E5E600279AA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19" t="14599" r="11318" b="12913"/>
          <a:stretch/>
        </p:blipFill>
        <p:spPr bwMode="auto">
          <a:xfrm>
            <a:off x="10020300" y="5023495"/>
            <a:ext cx="1919016" cy="1814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C13063E-32A1-AA0C-55A6-C405F9956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1" y="211232"/>
            <a:ext cx="3735280" cy="1023616"/>
          </a:xfrm>
        </p:spPr>
        <p:txBody>
          <a:bodyPr/>
          <a:lstStyle/>
          <a:p>
            <a:r>
              <a:rPr lang="nl-NL" dirty="0" err="1">
                <a:solidFill>
                  <a:schemeClr val="accent1"/>
                </a:solidFill>
              </a:rPr>
              <a:t>Assumptions</a:t>
            </a:r>
            <a:endParaRPr lang="nl-NL" dirty="0">
              <a:solidFill>
                <a:schemeClr val="accent1"/>
              </a:solidFill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F8053592-0408-B849-E905-7ACBF8C519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706" y="1234848"/>
            <a:ext cx="5400294" cy="3108552"/>
          </a:xfrm>
        </p:spPr>
        <p:txBody>
          <a:bodyPr>
            <a:normAutofit/>
          </a:bodyPr>
          <a:lstStyle/>
          <a:p>
            <a:r>
              <a:rPr lang="nl-NL" sz="1800" dirty="0" err="1"/>
              <a:t>People’s</a:t>
            </a:r>
            <a:r>
              <a:rPr lang="nl-NL" sz="1800" dirty="0"/>
              <a:t> </a:t>
            </a:r>
            <a:r>
              <a:rPr lang="nl-NL" sz="1800" dirty="0" err="1"/>
              <a:t>own</a:t>
            </a:r>
            <a:r>
              <a:rPr lang="nl-NL" sz="1800" dirty="0"/>
              <a:t> </a:t>
            </a:r>
            <a:r>
              <a:rPr lang="nl-NL" sz="1800" dirty="0" err="1"/>
              <a:t>strenght</a:t>
            </a:r>
            <a:r>
              <a:rPr lang="nl-NL" sz="1800" dirty="0"/>
              <a:t>: </a:t>
            </a:r>
            <a:r>
              <a:rPr lang="nl-NL" sz="1800" dirty="0" err="1"/>
              <a:t>What</a:t>
            </a:r>
            <a:r>
              <a:rPr lang="nl-NL" sz="1800" dirty="0"/>
              <a:t> </a:t>
            </a:r>
            <a:r>
              <a:rPr lang="nl-NL" sz="1800" dirty="0" err="1"/>
              <a:t>can</a:t>
            </a:r>
            <a:r>
              <a:rPr lang="nl-NL" sz="1800" dirty="0"/>
              <a:t> i do </a:t>
            </a:r>
            <a:r>
              <a:rPr lang="nl-NL" sz="1800" dirty="0" err="1"/>
              <a:t>myself</a:t>
            </a:r>
            <a:r>
              <a:rPr lang="nl-NL" sz="1800" dirty="0"/>
              <a:t>? How </a:t>
            </a:r>
            <a:r>
              <a:rPr lang="nl-NL" sz="1800" dirty="0" err="1"/>
              <a:t>did</a:t>
            </a:r>
            <a:r>
              <a:rPr lang="nl-NL" sz="1800" dirty="0"/>
              <a:t> i deal </a:t>
            </a:r>
            <a:r>
              <a:rPr lang="nl-NL" sz="1800" dirty="0" err="1"/>
              <a:t>with</a:t>
            </a:r>
            <a:r>
              <a:rPr lang="nl-NL" sz="1800" dirty="0"/>
              <a:t> </a:t>
            </a:r>
            <a:r>
              <a:rPr lang="nl-NL" sz="1800" dirty="0" err="1"/>
              <a:t>challenges</a:t>
            </a:r>
            <a:r>
              <a:rPr lang="nl-NL" sz="1800" dirty="0"/>
              <a:t> in </a:t>
            </a:r>
            <a:r>
              <a:rPr lang="nl-NL" sz="1800" dirty="0" err="1"/>
              <a:t>previous</a:t>
            </a:r>
            <a:r>
              <a:rPr lang="nl-NL" sz="1800" dirty="0"/>
              <a:t> </a:t>
            </a:r>
            <a:r>
              <a:rPr lang="nl-NL" sz="1800" dirty="0" err="1"/>
              <a:t>situations</a:t>
            </a:r>
            <a:r>
              <a:rPr lang="nl-NL" sz="1800" dirty="0"/>
              <a:t>? </a:t>
            </a:r>
          </a:p>
          <a:p>
            <a:r>
              <a:rPr lang="nl-NL" sz="1800" dirty="0" err="1"/>
              <a:t>People’s</a:t>
            </a:r>
            <a:r>
              <a:rPr lang="nl-NL" sz="1800" dirty="0"/>
              <a:t> </a:t>
            </a:r>
            <a:r>
              <a:rPr lang="nl-NL" sz="1800" dirty="0" err="1"/>
              <a:t>own</a:t>
            </a:r>
            <a:r>
              <a:rPr lang="nl-NL" sz="1800" dirty="0"/>
              <a:t> </a:t>
            </a:r>
            <a:r>
              <a:rPr lang="nl-NL" sz="1800" dirty="0" err="1"/>
              <a:t>direction</a:t>
            </a:r>
            <a:r>
              <a:rPr lang="nl-NL" sz="1800" dirty="0"/>
              <a:t>: </a:t>
            </a:r>
            <a:r>
              <a:rPr lang="nl-NL" sz="1800" dirty="0" err="1"/>
              <a:t>What</a:t>
            </a:r>
            <a:r>
              <a:rPr lang="nl-NL" sz="1800" dirty="0"/>
              <a:t> </a:t>
            </a:r>
            <a:r>
              <a:rPr lang="nl-NL" sz="1800" dirty="0" err="1"/>
              <a:t>works</a:t>
            </a:r>
            <a:r>
              <a:rPr lang="nl-NL" sz="1800" dirty="0"/>
              <a:t> well </a:t>
            </a:r>
            <a:r>
              <a:rPr lang="nl-NL" sz="1800" dirty="0" err="1"/>
              <a:t>for</a:t>
            </a:r>
            <a:r>
              <a:rPr lang="nl-NL" sz="1800" dirty="0"/>
              <a:t> me? </a:t>
            </a:r>
          </a:p>
          <a:p>
            <a:r>
              <a:rPr lang="nl-NL" sz="1800" dirty="0"/>
              <a:t> ‘Do no </a:t>
            </a:r>
            <a:r>
              <a:rPr lang="nl-NL" sz="1800" dirty="0" err="1"/>
              <a:t>harm</a:t>
            </a:r>
            <a:r>
              <a:rPr lang="nl-NL" sz="1800" dirty="0"/>
              <a:t>’ </a:t>
            </a:r>
            <a:r>
              <a:rPr lang="nl-NL" sz="1800" dirty="0" err="1"/>
              <a:t>principle</a:t>
            </a:r>
            <a:r>
              <a:rPr lang="nl-NL" sz="1800" dirty="0"/>
              <a:t>: Do </a:t>
            </a:r>
            <a:r>
              <a:rPr lang="nl-NL" sz="1800" dirty="0" err="1"/>
              <a:t>not</a:t>
            </a:r>
            <a:r>
              <a:rPr lang="nl-NL" sz="1800" dirty="0"/>
              <a:t> </a:t>
            </a:r>
            <a:r>
              <a:rPr lang="nl-NL" sz="1800" dirty="0" err="1"/>
              <a:t>disturb</a:t>
            </a:r>
            <a:r>
              <a:rPr lang="nl-NL" sz="1800" dirty="0"/>
              <a:t> </a:t>
            </a:r>
            <a:r>
              <a:rPr lang="nl-NL" sz="1800" dirty="0" err="1"/>
              <a:t>people</a:t>
            </a:r>
            <a:r>
              <a:rPr lang="nl-NL" sz="1800" dirty="0"/>
              <a:t> </a:t>
            </a:r>
            <a:r>
              <a:rPr lang="nl-NL" sz="1800" dirty="0" err="1"/>
              <a:t>who</a:t>
            </a:r>
            <a:r>
              <a:rPr lang="nl-NL" sz="1800" dirty="0"/>
              <a:t> are </a:t>
            </a:r>
            <a:r>
              <a:rPr lang="nl-NL" sz="1800" dirty="0" err="1"/>
              <a:t>doing</a:t>
            </a:r>
            <a:r>
              <a:rPr lang="nl-NL" sz="1800" dirty="0"/>
              <a:t> well, </a:t>
            </a:r>
            <a:r>
              <a:rPr lang="nl-NL" sz="1800" dirty="0" err="1"/>
              <a:t>and</a:t>
            </a:r>
            <a:r>
              <a:rPr lang="nl-NL" sz="1800" dirty="0"/>
              <a:t> do </a:t>
            </a:r>
            <a:r>
              <a:rPr lang="nl-NL" sz="1800" dirty="0" err="1"/>
              <a:t>prevent</a:t>
            </a:r>
            <a:r>
              <a:rPr lang="nl-NL" sz="1800" dirty="0"/>
              <a:t> the ‘spread’ of </a:t>
            </a:r>
            <a:r>
              <a:rPr lang="nl-NL" sz="1800" dirty="0" err="1"/>
              <a:t>intrusive</a:t>
            </a:r>
            <a:r>
              <a:rPr lang="nl-NL" sz="1800" dirty="0"/>
              <a:t> </a:t>
            </a:r>
            <a:r>
              <a:rPr lang="nl-NL" sz="1800" dirty="0" err="1"/>
              <a:t>stories</a:t>
            </a:r>
            <a:r>
              <a:rPr lang="nl-NL" sz="1800" dirty="0"/>
              <a:t>, </a:t>
            </a:r>
            <a:r>
              <a:rPr lang="nl-NL" sz="1800" dirty="0" err="1"/>
              <a:t>photo’s</a:t>
            </a:r>
            <a:r>
              <a:rPr lang="nl-NL" sz="1800" dirty="0"/>
              <a:t>, </a:t>
            </a:r>
            <a:r>
              <a:rPr lang="nl-NL" sz="1800" dirty="0" err="1"/>
              <a:t>videos</a:t>
            </a:r>
            <a:r>
              <a:rPr lang="nl-NL" sz="1800" dirty="0"/>
              <a:t> – to </a:t>
            </a:r>
            <a:r>
              <a:rPr lang="nl-NL" sz="1800" dirty="0" err="1"/>
              <a:t>prevent</a:t>
            </a:r>
            <a:r>
              <a:rPr lang="nl-NL" sz="1800" dirty="0"/>
              <a:t> </a:t>
            </a:r>
            <a:r>
              <a:rPr lang="nl-NL" sz="1800" dirty="0" err="1"/>
              <a:t>retrautisation</a:t>
            </a:r>
            <a:r>
              <a:rPr lang="nl-NL" sz="1800" dirty="0"/>
              <a:t> of </a:t>
            </a:r>
            <a:r>
              <a:rPr lang="nl-NL" sz="1800" dirty="0" err="1"/>
              <a:t>others</a:t>
            </a:r>
            <a:r>
              <a:rPr lang="nl-NL" sz="1800" dirty="0"/>
              <a:t>.</a:t>
            </a:r>
          </a:p>
          <a:p>
            <a:endParaRPr lang="nl-NL" sz="1800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BEB314A-299D-BCEE-5A3D-66B3BFE60F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DDB8C6-B22F-45FF-B9DD-34C0453CB5A2}" type="slidenum">
              <a:rPr lang="en-US" smtClean="0"/>
              <a:t>8</a:t>
            </a:fld>
            <a:endParaRPr lang="en-US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718DE016-26F3-75F1-5C5A-E14F6B06D88D}"/>
              </a:ext>
            </a:extLst>
          </p:cNvPr>
          <p:cNvSpPr txBox="1">
            <a:spLocks/>
          </p:cNvSpPr>
          <p:nvPr/>
        </p:nvSpPr>
        <p:spPr>
          <a:xfrm>
            <a:off x="6839506" y="211232"/>
            <a:ext cx="3735280" cy="1023616"/>
          </a:xfrm>
          <a:prstGeom prst="rect">
            <a:avLst/>
          </a:prstGeom>
        </p:spPr>
        <p:txBody>
          <a:bodyPr vert="horz" lIns="36000" tIns="36000" rIns="36000" bIns="3600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spc="6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chemeClr val="accent1"/>
                </a:solidFill>
              </a:rPr>
              <a:t>Actions</a:t>
            </a:r>
          </a:p>
        </p:txBody>
      </p:sp>
      <p:sp>
        <p:nvSpPr>
          <p:cNvPr id="6" name="Tijdelijke aanduiding voor inhoud 2">
            <a:extLst>
              <a:ext uri="{FF2B5EF4-FFF2-40B4-BE49-F238E27FC236}">
                <a16:creationId xmlns:a16="http://schemas.microsoft.com/office/drawing/2014/main" id="{71130A8E-E7AD-5804-A274-2E0AC1A4987E}"/>
              </a:ext>
            </a:extLst>
          </p:cNvPr>
          <p:cNvSpPr txBox="1">
            <a:spLocks/>
          </p:cNvSpPr>
          <p:nvPr/>
        </p:nvSpPr>
        <p:spPr>
          <a:xfrm>
            <a:off x="6745537" y="1192760"/>
            <a:ext cx="4870593" cy="4541403"/>
          </a:xfrm>
          <a:prstGeom prst="rect">
            <a:avLst/>
          </a:prstGeom>
        </p:spPr>
        <p:txBody>
          <a:bodyPr vert="horz" lIns="36000" tIns="36000" rIns="36000" bIns="36000" rtlCol="0">
            <a:normAutofit/>
          </a:bodyPr>
          <a:lstStyle>
            <a:lvl1pPr marL="288000" indent="-288000" algn="l" defTabSz="2880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6000" indent="-288000" algn="l" defTabSz="288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4000" indent="-288000" algn="l" defTabSz="288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2000" indent="-288000" algn="l" defTabSz="288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00" indent="-288000" algn="l" defTabSz="2880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spc="6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400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4400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400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2880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1800" dirty="0"/>
              <a:t>Offer support, in </a:t>
            </a:r>
            <a:r>
              <a:rPr lang="nl-NL" sz="1800" dirty="0" err="1"/>
              <a:t>which</a:t>
            </a:r>
            <a:r>
              <a:rPr lang="nl-NL" sz="1800" dirty="0"/>
              <a:t> </a:t>
            </a:r>
            <a:r>
              <a:rPr lang="nl-NL" sz="1800" dirty="0" err="1"/>
              <a:t>active</a:t>
            </a:r>
            <a:r>
              <a:rPr lang="nl-NL" sz="1800" dirty="0"/>
              <a:t> </a:t>
            </a:r>
            <a:r>
              <a:rPr lang="nl-NL" sz="1800" dirty="0" err="1"/>
              <a:t>listening</a:t>
            </a:r>
            <a:r>
              <a:rPr lang="nl-NL" sz="1800" dirty="0"/>
              <a:t> is </a:t>
            </a:r>
            <a:r>
              <a:rPr lang="nl-NL" sz="1800" dirty="0" err="1"/>
              <a:t>key</a:t>
            </a:r>
            <a:r>
              <a:rPr lang="nl-NL" sz="1800" dirty="0"/>
              <a:t>  </a:t>
            </a:r>
          </a:p>
          <a:p>
            <a:r>
              <a:rPr lang="nl-NL" sz="1800" dirty="0" err="1"/>
              <a:t>Explain</a:t>
            </a:r>
            <a:r>
              <a:rPr lang="nl-NL" sz="1800" dirty="0"/>
              <a:t> </a:t>
            </a:r>
            <a:r>
              <a:rPr lang="nl-NL" sz="1800" dirty="0" err="1"/>
              <a:t>normal</a:t>
            </a:r>
            <a:r>
              <a:rPr lang="nl-NL" sz="1800" dirty="0"/>
              <a:t> stress responses in </a:t>
            </a:r>
            <a:r>
              <a:rPr lang="nl-NL" sz="1800" dirty="0" err="1"/>
              <a:t>emergencies</a:t>
            </a:r>
            <a:r>
              <a:rPr lang="nl-NL" sz="1800" dirty="0"/>
              <a:t> (‘</a:t>
            </a:r>
            <a:r>
              <a:rPr lang="nl-NL" sz="1800" dirty="0" err="1"/>
              <a:t>Your</a:t>
            </a:r>
            <a:r>
              <a:rPr lang="nl-NL" sz="1800" dirty="0"/>
              <a:t> response is </a:t>
            </a:r>
            <a:r>
              <a:rPr lang="nl-NL" sz="1800" dirty="0" err="1"/>
              <a:t>not</a:t>
            </a:r>
            <a:r>
              <a:rPr lang="nl-NL" sz="1800" dirty="0"/>
              <a:t> </a:t>
            </a:r>
            <a:r>
              <a:rPr lang="nl-NL" sz="1800" dirty="0" err="1"/>
              <a:t>abbnormal</a:t>
            </a:r>
            <a:r>
              <a:rPr lang="nl-NL" sz="1800" dirty="0"/>
              <a:t>; the </a:t>
            </a:r>
            <a:r>
              <a:rPr lang="nl-NL" sz="1800" dirty="0" err="1"/>
              <a:t>situation</a:t>
            </a:r>
            <a:r>
              <a:rPr lang="nl-NL" sz="1800" dirty="0"/>
              <a:t> is </a:t>
            </a:r>
            <a:r>
              <a:rPr lang="nl-NL" sz="1800" dirty="0" err="1"/>
              <a:t>abnormal</a:t>
            </a:r>
            <a:r>
              <a:rPr lang="nl-NL" sz="1800" dirty="0"/>
              <a:t>”) </a:t>
            </a:r>
          </a:p>
          <a:p>
            <a:r>
              <a:rPr lang="nl-NL" sz="1800" dirty="0"/>
              <a:t>Show interest </a:t>
            </a:r>
            <a:r>
              <a:rPr lang="nl-NL" sz="1800" dirty="0" err="1"/>
              <a:t>and</a:t>
            </a:r>
            <a:r>
              <a:rPr lang="nl-NL" sz="1800" dirty="0"/>
              <a:t> </a:t>
            </a:r>
            <a:r>
              <a:rPr lang="nl-NL" sz="1800" dirty="0" err="1"/>
              <a:t>recognise</a:t>
            </a:r>
            <a:r>
              <a:rPr lang="nl-NL" sz="1800" dirty="0"/>
              <a:t> the </a:t>
            </a:r>
            <a:r>
              <a:rPr lang="nl-NL" sz="1800" dirty="0" err="1"/>
              <a:t>situation</a:t>
            </a:r>
            <a:r>
              <a:rPr lang="nl-NL" sz="1800" dirty="0"/>
              <a:t> </a:t>
            </a:r>
            <a:r>
              <a:rPr lang="nl-NL" sz="1800" dirty="0" err="1"/>
              <a:t>that</a:t>
            </a:r>
            <a:r>
              <a:rPr lang="nl-NL" sz="1800" dirty="0"/>
              <a:t> the person is </a:t>
            </a:r>
            <a:r>
              <a:rPr lang="nl-NL" sz="1800" dirty="0" err="1"/>
              <a:t>facing</a:t>
            </a:r>
            <a:r>
              <a:rPr lang="nl-NL" sz="1800" dirty="0"/>
              <a:t> </a:t>
            </a:r>
          </a:p>
          <a:p>
            <a:r>
              <a:rPr lang="nl-NL" sz="1800" dirty="0"/>
              <a:t>Help the person to </a:t>
            </a:r>
            <a:r>
              <a:rPr lang="nl-NL" sz="1800" dirty="0" err="1"/>
              <a:t>find</a:t>
            </a:r>
            <a:r>
              <a:rPr lang="nl-NL" sz="1800" dirty="0"/>
              <a:t> back </a:t>
            </a:r>
            <a:r>
              <a:rPr lang="nl-NL" sz="1800" dirty="0" err="1"/>
              <a:t>calmness</a:t>
            </a:r>
            <a:r>
              <a:rPr lang="nl-NL" sz="1800" dirty="0"/>
              <a:t> </a:t>
            </a:r>
            <a:r>
              <a:rPr lang="nl-NL" sz="1800" dirty="0" err="1"/>
              <a:t>and</a:t>
            </a:r>
            <a:r>
              <a:rPr lang="nl-NL" sz="1800" dirty="0"/>
              <a:t> help to </a:t>
            </a:r>
            <a:r>
              <a:rPr lang="nl-NL" sz="1800" dirty="0" err="1"/>
              <a:t>create</a:t>
            </a:r>
            <a:r>
              <a:rPr lang="nl-NL" sz="1800" dirty="0"/>
              <a:t> </a:t>
            </a:r>
            <a:r>
              <a:rPr lang="nl-NL" sz="1800" dirty="0" err="1"/>
              <a:t>overview</a:t>
            </a:r>
            <a:r>
              <a:rPr lang="nl-NL" sz="1800" dirty="0"/>
              <a:t> in the </a:t>
            </a:r>
            <a:r>
              <a:rPr lang="nl-NL" sz="1800" dirty="0" err="1"/>
              <a:t>situationse</a:t>
            </a:r>
            <a:r>
              <a:rPr lang="nl-NL" sz="1800" dirty="0"/>
              <a:t>.</a:t>
            </a:r>
          </a:p>
          <a:p>
            <a:r>
              <a:rPr lang="nl-NL" sz="1800" dirty="0"/>
              <a:t>Get back to </a:t>
            </a:r>
            <a:r>
              <a:rPr lang="nl-NL" sz="1800" dirty="0" err="1"/>
              <a:t>self</a:t>
            </a:r>
            <a:r>
              <a:rPr lang="nl-NL" sz="1800" dirty="0"/>
              <a:t>  </a:t>
            </a:r>
            <a:r>
              <a:rPr lang="nl-NL" sz="1800" dirty="0" err="1"/>
              <a:t>controll</a:t>
            </a:r>
            <a:r>
              <a:rPr lang="nl-NL" sz="1800" dirty="0"/>
              <a:t> </a:t>
            </a:r>
            <a:r>
              <a:rPr lang="nl-NL" sz="1800" dirty="0" err="1"/>
              <a:t>and</a:t>
            </a:r>
            <a:r>
              <a:rPr lang="nl-NL" sz="1800" dirty="0"/>
              <a:t> </a:t>
            </a:r>
            <a:r>
              <a:rPr lang="nl-NL" sz="1800" dirty="0" err="1"/>
              <a:t>self</a:t>
            </a:r>
            <a:r>
              <a:rPr lang="nl-NL" sz="1800" dirty="0"/>
              <a:t> </a:t>
            </a:r>
            <a:r>
              <a:rPr lang="nl-NL" sz="1800" dirty="0" err="1"/>
              <a:t>direction</a:t>
            </a:r>
            <a:r>
              <a:rPr lang="nl-NL" sz="1800" dirty="0"/>
              <a:t>.</a:t>
            </a:r>
          </a:p>
          <a:p>
            <a:r>
              <a:rPr lang="nl-NL" sz="1800" dirty="0" err="1"/>
              <a:t>Refer</a:t>
            </a:r>
            <a:r>
              <a:rPr lang="nl-NL" sz="1800" dirty="0"/>
              <a:t> to </a:t>
            </a:r>
            <a:r>
              <a:rPr lang="nl-NL" sz="1800" dirty="0" err="1"/>
              <a:t>other</a:t>
            </a:r>
            <a:r>
              <a:rPr lang="nl-NL" sz="1800" dirty="0"/>
              <a:t> </a:t>
            </a:r>
            <a:r>
              <a:rPr lang="nl-NL" sz="1800" dirty="0" err="1"/>
              <a:t>forms</a:t>
            </a:r>
            <a:r>
              <a:rPr lang="nl-NL" sz="1800" dirty="0"/>
              <a:t> of support </a:t>
            </a:r>
            <a:r>
              <a:rPr lang="nl-NL" sz="1800" dirty="0" err="1"/>
              <a:t>and</a:t>
            </a:r>
            <a:r>
              <a:rPr lang="nl-NL" sz="1800" dirty="0"/>
              <a:t> care, </a:t>
            </a:r>
            <a:r>
              <a:rPr lang="nl-NL" sz="1800" dirty="0" err="1"/>
              <a:t>both</a:t>
            </a:r>
            <a:r>
              <a:rPr lang="nl-NL" sz="1800" dirty="0"/>
              <a:t> </a:t>
            </a:r>
            <a:r>
              <a:rPr lang="nl-NL" sz="1800" dirty="0" err="1"/>
              <a:t>formal</a:t>
            </a:r>
            <a:r>
              <a:rPr lang="nl-NL" sz="1800" dirty="0"/>
              <a:t> </a:t>
            </a:r>
            <a:r>
              <a:rPr lang="nl-NL" sz="1800" dirty="0" err="1"/>
              <a:t>and</a:t>
            </a:r>
            <a:r>
              <a:rPr lang="nl-NL" sz="1800" dirty="0"/>
              <a:t> </a:t>
            </a:r>
            <a:r>
              <a:rPr lang="nl-NL" sz="1800" dirty="0" err="1"/>
              <a:t>informal</a:t>
            </a:r>
            <a:r>
              <a:rPr lang="nl-NL" sz="1800" dirty="0"/>
              <a:t> </a:t>
            </a:r>
          </a:p>
        </p:txBody>
      </p:sp>
      <p:cxnSp>
        <p:nvCxnSpPr>
          <p:cNvPr id="7" name="Rechte verbindingslijn 6">
            <a:extLst>
              <a:ext uri="{FF2B5EF4-FFF2-40B4-BE49-F238E27FC236}">
                <a16:creationId xmlns:a16="http://schemas.microsoft.com/office/drawing/2014/main" id="{69CD9FA0-FB96-AE74-108F-56C12489E589}"/>
              </a:ext>
            </a:extLst>
          </p:cNvPr>
          <p:cNvCxnSpPr>
            <a:cxnSpLocks/>
          </p:cNvCxnSpPr>
          <p:nvPr/>
        </p:nvCxnSpPr>
        <p:spPr>
          <a:xfrm>
            <a:off x="6422350" y="1192760"/>
            <a:ext cx="0" cy="352800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07587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CFF1711-2B95-E6EC-AE98-01E750EED2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MHPSS </a:t>
            </a:r>
            <a:r>
              <a:rPr lang="nl-NL" dirty="0" err="1"/>
              <a:t>Pyramid</a:t>
            </a:r>
            <a:r>
              <a:rPr lang="nl-NL" dirty="0"/>
              <a:t> (source: IFRC PS Center) 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4753F855-105B-E8AA-8467-D5E2AC4476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23FC5B-98A5-49E4-B59C-E073B8952154}" type="slidenum">
              <a:rPr lang="nl-NL" smtClean="0"/>
              <a:pPr/>
              <a:t>9</a:t>
            </a:fld>
            <a:endParaRPr lang="nl-NL"/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60537295-64E2-9828-D696-6032F671ED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9" y="1520825"/>
            <a:ext cx="4665662" cy="3995738"/>
          </a:xfrm>
        </p:spPr>
        <p:txBody>
          <a:bodyPr/>
          <a:lstStyle/>
          <a:p>
            <a:pPr marL="0" indent="0">
              <a:buNone/>
            </a:pPr>
            <a:r>
              <a:rPr lang="nl-NL" dirty="0"/>
              <a:t>The Netherlands Red Cross </a:t>
            </a:r>
            <a:r>
              <a:rPr lang="nl-NL" dirty="0" err="1"/>
              <a:t>focusses</a:t>
            </a:r>
            <a:r>
              <a:rPr lang="nl-NL" dirty="0"/>
              <a:t> on the </a:t>
            </a:r>
            <a:r>
              <a:rPr lang="nl-NL" dirty="0" err="1"/>
              <a:t>utter</a:t>
            </a:r>
            <a:r>
              <a:rPr lang="nl-NL" dirty="0"/>
              <a:t> </a:t>
            </a:r>
            <a:r>
              <a:rPr lang="nl-NL" dirty="0" err="1"/>
              <a:t>two</a:t>
            </a:r>
            <a:r>
              <a:rPr lang="nl-NL" dirty="0"/>
              <a:t> </a:t>
            </a:r>
            <a:r>
              <a:rPr lang="nl-NL" dirty="0" err="1"/>
              <a:t>layers</a:t>
            </a:r>
            <a:r>
              <a:rPr lang="nl-NL" dirty="0"/>
              <a:t> of </a:t>
            </a:r>
            <a:r>
              <a:rPr lang="nl-NL" dirty="0" err="1"/>
              <a:t>Pyramid</a:t>
            </a:r>
            <a:r>
              <a:rPr lang="nl-NL" dirty="0"/>
              <a:t>, </a:t>
            </a:r>
            <a:r>
              <a:rPr lang="nl-NL" dirty="0" err="1"/>
              <a:t>with</a:t>
            </a:r>
            <a:r>
              <a:rPr lang="nl-NL" dirty="0"/>
              <a:t> basic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focussed</a:t>
            </a:r>
            <a:r>
              <a:rPr lang="nl-NL" dirty="0"/>
              <a:t> </a:t>
            </a:r>
            <a:r>
              <a:rPr lang="nl-NL" dirty="0" err="1"/>
              <a:t>psychosocial</a:t>
            </a:r>
            <a:r>
              <a:rPr lang="nl-NL" dirty="0"/>
              <a:t> support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7204BC21-FDFA-2030-2CA6-BE1CC07E32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1601" y="999725"/>
            <a:ext cx="6567487" cy="5714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7778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dCross">
  <a:themeElements>
    <a:clrScheme name="RedCross">
      <a:dk1>
        <a:srgbClr val="000000"/>
      </a:dk1>
      <a:lt1>
        <a:sysClr val="window" lastClr="FFFFFF"/>
      </a:lt1>
      <a:dk2>
        <a:srgbClr val="505050"/>
      </a:dk2>
      <a:lt2>
        <a:srgbClr val="FFFFFF"/>
      </a:lt2>
      <a:accent1>
        <a:srgbClr val="4B6E82"/>
      </a:accent1>
      <a:accent2>
        <a:srgbClr val="BEA55F"/>
      </a:accent2>
      <a:accent3>
        <a:srgbClr val="ADB4B3"/>
      </a:accent3>
      <a:accent4>
        <a:srgbClr val="781E1E"/>
      </a:accent4>
      <a:accent5>
        <a:srgbClr val="E67300"/>
      </a:accent5>
      <a:accent6>
        <a:srgbClr val="DC281E"/>
      </a:accent6>
      <a:hlink>
        <a:srgbClr val="DC281E"/>
      </a:hlink>
      <a:folHlink>
        <a:srgbClr val="DC281E"/>
      </a:folHlink>
    </a:clrScheme>
    <a:fontScheme name="Aangepast 5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et Rode Kruis breedbeeld presentatie.pptx" id="{7E028462-0DA5-48EF-A9D3-7612136E7FB1}" vid="{2F437BE2-83C0-45D8-B341-34DCA97B4175}"/>
    </a:ext>
  </a:extLst>
</a:theme>
</file>

<file path=ppt/theme/theme2.xml><?xml version="1.0" encoding="utf-8"?>
<a:theme xmlns:a="http://schemas.openxmlformats.org/drawingml/2006/main" name="Kantoorthema">
  <a:themeElements>
    <a:clrScheme name="RedCross">
      <a:dk1>
        <a:srgbClr val="666666"/>
      </a:dk1>
      <a:lt1>
        <a:sysClr val="window" lastClr="FFFFFF"/>
      </a:lt1>
      <a:dk2>
        <a:srgbClr val="666666"/>
      </a:dk2>
      <a:lt2>
        <a:srgbClr val="FFFFFF"/>
      </a:lt2>
      <a:accent1>
        <a:srgbClr val="66AEE2"/>
      </a:accent1>
      <a:accent2>
        <a:srgbClr val="0087BB"/>
      </a:accent2>
      <a:accent3>
        <a:srgbClr val="672146"/>
      </a:accent3>
      <a:accent4>
        <a:srgbClr val="FE5000"/>
      </a:accent4>
      <a:accent5>
        <a:srgbClr val="28724F"/>
      </a:accent5>
      <a:accent6>
        <a:srgbClr val="C4B000"/>
      </a:accent6>
      <a:hlink>
        <a:srgbClr val="00205B"/>
      </a:hlink>
      <a:folHlink>
        <a:srgbClr val="666666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540D2AFAA9584E94AFA547626AD5CB" ma:contentTypeVersion="20" ma:contentTypeDescription="Een nieuw document maken." ma:contentTypeScope="" ma:versionID="33c8016deb406f13292d14e7e14513fa">
  <xsd:schema xmlns:xsd="http://www.w3.org/2001/XMLSchema" xmlns:xs="http://www.w3.org/2001/XMLSchema" xmlns:p="http://schemas.microsoft.com/office/2006/metadata/properties" xmlns:ns1="http://schemas.microsoft.com/sharepoint/v3" xmlns:ns2="e3d69b6d-dc56-4027-929d-9d379a7c1dca" xmlns:ns3="a3062435-a6c2-4d14-b045-15a59a90b75a" targetNamespace="http://schemas.microsoft.com/office/2006/metadata/properties" ma:root="true" ma:fieldsID="97ffc918d151446b075d1777858cb994" ns1:_="" ns2:_="" ns3:_="">
    <xsd:import namespace="http://schemas.microsoft.com/sharepoint/v3"/>
    <xsd:import namespace="e3d69b6d-dc56-4027-929d-9d379a7c1dca"/>
    <xsd:import namespace="a3062435-a6c2-4d14-b045-15a59a90b75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Location" minOccurs="0"/>
                <xsd:element ref="ns1:_ip_UnifiedCompliancePolicyProperties" minOccurs="0"/>
                <xsd:element ref="ns1:_ip_UnifiedCompliancePolicyUIAction" minOccurs="0"/>
                <xsd:element ref="ns3:SharedWithUsers" minOccurs="0"/>
                <xsd:element ref="ns3:SharedWithDetails" minOccurs="0"/>
                <xsd:element ref="ns2:Afbeelding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6" nillable="true" ma:displayName="Eigenschappen van het geïntegreerd beleid voor naleving" ma:hidden="true" ma:internalName="_ip_UnifiedCompliancePolicyProperties">
      <xsd:simpleType>
        <xsd:restriction base="dms:Note"/>
      </xsd:simpleType>
    </xsd:element>
    <xsd:element name="_ip_UnifiedCompliancePolicyUIAction" ma:index="17" nillable="true" ma:displayName="Actie van de gebruikersinterface van het geïntegreerd beleid voor naleving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d69b6d-dc56-4027-929d-9d379a7c1dc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Afbeelding" ma:index="20" nillable="true" ma:displayName="Afbeelding" ma:format="Image" ma:internalName="Afbeelding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5" nillable="true" ma:taxonomy="true" ma:internalName="lcf76f155ced4ddcb4097134ff3c332f" ma:taxonomyFieldName="MediaServiceImageTags" ma:displayName="Afbeeldingtags" ma:readOnly="false" ma:fieldId="{5cf76f15-5ced-4ddc-b409-7134ff3c332f}" ma:taxonomyMulti="true" ma:sspId="2caa1aef-80bc-4cc0-906b-374d316fcde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062435-a6c2-4d14-b045-15a59a90b75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6" nillable="true" ma:displayName="Taxonomy Catch All Column" ma:hidden="true" ma:list="{6c87c44c-e07a-416d-a170-0e034bd5112d}" ma:internalName="TaxCatchAll" ma:showField="CatchAllData" ma:web="a3062435-a6c2-4d14-b045-15a59a90b75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Afbeelding xmlns="e3d69b6d-dc56-4027-929d-9d379a7c1dca">
      <Url xsi:nil="true"/>
      <Description xsi:nil="true"/>
    </Afbeelding>
    <MediaLengthInSeconds xmlns="e3d69b6d-dc56-4027-929d-9d379a7c1dca" xsi:nil="true"/>
    <SharedWithUsers xmlns="a3062435-a6c2-4d14-b045-15a59a90b75a">
      <UserInfo>
        <DisplayName>Thielen van, Marijke</DisplayName>
        <AccountId>1206</AccountId>
        <AccountType/>
      </UserInfo>
    </SharedWithUsers>
    <TaxCatchAll xmlns="a3062435-a6c2-4d14-b045-15a59a90b75a" xsi:nil="true"/>
    <lcf76f155ced4ddcb4097134ff3c332f xmlns="e3d69b6d-dc56-4027-929d-9d379a7c1dca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85B54F2B-11C6-4585-AD94-C0D2E0EFF3A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3d69b6d-dc56-4027-929d-9d379a7c1dca"/>
    <ds:schemaRef ds:uri="a3062435-a6c2-4d14-b045-15a59a90b75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6AD49F5-2B00-4ACC-9C62-C5A3BF4DB85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3320FB2-E78A-42D4-8725-940CC783D78D}">
  <ds:schemaRefs>
    <ds:schemaRef ds:uri="http://schemas.microsoft.com/sharepoint/v3"/>
    <ds:schemaRef ds:uri="http://purl.org/dc/terms/"/>
    <ds:schemaRef ds:uri="a3062435-a6c2-4d14-b045-15a59a90b75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e3d69b6d-dc56-4027-929d-9d379a7c1dca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et Rode Kruis breedbeeld presentatie</Template>
  <TotalTime>1187</TotalTime>
  <Words>3100</Words>
  <Application>Microsoft Office PowerPoint</Application>
  <PresentationFormat>Breedbeeld</PresentationFormat>
  <Paragraphs>302</Paragraphs>
  <Slides>34</Slides>
  <Notes>20</Notes>
  <HiddenSlides>0</HiddenSlides>
  <MMClips>1</MMClips>
  <ScaleCrop>false</ScaleCrop>
  <HeadingPairs>
    <vt:vector size="8" baseType="variant">
      <vt:variant>
        <vt:lpstr>Gebruikte lettertypen</vt:lpstr>
      </vt:variant>
      <vt:variant>
        <vt:i4>8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34</vt:i4>
      </vt:variant>
    </vt:vector>
  </HeadingPairs>
  <TitlesOfParts>
    <vt:vector size="44" baseType="lpstr">
      <vt:lpstr>Arial</vt:lpstr>
      <vt:lpstr>Calibri</vt:lpstr>
      <vt:lpstr>Calibri Light</vt:lpstr>
      <vt:lpstr>Roboto</vt:lpstr>
      <vt:lpstr>Segoe UI</vt:lpstr>
      <vt:lpstr>Source Sans Pro</vt:lpstr>
      <vt:lpstr>Source Sans Pro Black</vt:lpstr>
      <vt:lpstr>Symbol</vt:lpstr>
      <vt:lpstr>RedCross</vt:lpstr>
      <vt:lpstr>think-cell Slide</vt:lpstr>
      <vt:lpstr>PowerPoint-presentatie</vt:lpstr>
      <vt:lpstr>Resolution MHPSS within the Netherlands Red Cross </vt:lpstr>
      <vt:lpstr>Team PSS: Who are we?</vt:lpstr>
      <vt:lpstr>PowerPoint-presentatie</vt:lpstr>
      <vt:lpstr>For the NLRC, Psychosocial Support aims to strengthen the resilience of people in need, and the resilience of our staff and volunteers</vt:lpstr>
      <vt:lpstr>Minimum standard for PSS:  Someone is in psychosocial need when they have psychological problems:  1. that disrupt general daily functioning (work, living, social relationships);  2. that cannot be solved by the person himself or with help from the environment (family, friends, neighbors, volunteers, acquaintances);  3. and for which the necessary professional care and support is lacking, as described.</vt:lpstr>
      <vt:lpstr>PMER: We measure the outcomes and impact of PSS </vt:lpstr>
      <vt:lpstr>Assumptions</vt:lpstr>
      <vt:lpstr>MHPSS Pyramid (source: IFRC PS Center) </vt:lpstr>
      <vt:lpstr>NLRC MHPSS Strategic House</vt:lpstr>
      <vt:lpstr>3. Overview of current psychosocial support intervention  based on the strategic PSS-pillars</vt:lpstr>
      <vt:lpstr>Pillar 1  Basic psychosocial support for people in emergencies</vt:lpstr>
      <vt:lpstr>Pillar 1  Basic psychosocial support for people in emergencies</vt:lpstr>
      <vt:lpstr>Pillar 1  Basic Psychosocial Support for people in emergencies</vt:lpstr>
      <vt:lpstr>Pillar 2 Focussed PSS: Strengthening the resilience of people in need and in vulnerable stuations</vt:lpstr>
      <vt:lpstr>PowerPoint-presentatie</vt:lpstr>
      <vt:lpstr>2.2 Focussed PSS: Life Skills workshops for undocumented migrants, victims of human trafficking and asylum seekers</vt:lpstr>
      <vt:lpstr>2.3 Focussed PSS:  Coaching voor Oekraïense ontheemden</vt:lpstr>
      <vt:lpstr>2.4 Focussed PSS: ‘Look after another’ network for persons with multiple problems in the Netherlands</vt:lpstr>
      <vt:lpstr>Pillar 3  Strengthening the resilience of our help givers </vt:lpstr>
      <vt:lpstr>PowerPoint-presentatie</vt:lpstr>
      <vt:lpstr>3.2 Strengthening resilience of our help givers: Self care </vt:lpstr>
      <vt:lpstr>3.3 Pillar 3  Strengthening the resilience of our help givers: After care for NLRC help providers </vt:lpstr>
      <vt:lpstr>Other current PSS activities  (apart from interventions)</vt:lpstr>
      <vt:lpstr>4. Overview of past PSS  interventions 2019- 2020</vt:lpstr>
      <vt:lpstr>4. Overview of past PSS interventions 2020 - 2021 </vt:lpstr>
      <vt:lpstr>5. Overview of Campaigns &amp; Video’s 2019-2023</vt:lpstr>
      <vt:lpstr>Skip the corona dip campaign Winter December 2021</vt:lpstr>
      <vt:lpstr>Video ‘Stress &amp; Healthy Habits’ – Strenghening Selfcare for migrants in the Netherlands </vt:lpstr>
      <vt:lpstr>Find your own inner strength! December 2021</vt:lpstr>
      <vt:lpstr>PowerPoint-presentatie</vt:lpstr>
      <vt:lpstr>6. Overview of other forms of other PSS involvement</vt:lpstr>
      <vt:lpstr>Thank you!</vt:lpstr>
      <vt:lpstr>Thank you! voor een ander voor jezelf voor elkaa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Tjalondo, Nancy</dc:creator>
  <dc:description>Template by HQ Solutions B.V.</dc:description>
  <cp:lastModifiedBy>Pronk, Carolien</cp:lastModifiedBy>
  <cp:revision>3</cp:revision>
  <dcterms:created xsi:type="dcterms:W3CDTF">2022-05-11T08:45:32Z</dcterms:created>
  <dcterms:modified xsi:type="dcterms:W3CDTF">2023-10-11T14:38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A540D2AFAA9584E94AFA547626AD5CB</vt:lpwstr>
  </property>
  <property fmtid="{D5CDD505-2E9C-101B-9397-08002B2CF9AE}" pid="3" name="MSIP_Label_39e0ea1b-66e3-485e-aa7a-7314a550a1e4_Enabled">
    <vt:lpwstr>True</vt:lpwstr>
  </property>
  <property fmtid="{D5CDD505-2E9C-101B-9397-08002B2CF9AE}" pid="4" name="MSIP_Label_39e0ea1b-66e3-485e-aa7a-7314a550a1e4_SiteId">
    <vt:lpwstr>afca0a52-882c-4fa8-b71d-f6db2e36058b</vt:lpwstr>
  </property>
  <property fmtid="{D5CDD505-2E9C-101B-9397-08002B2CF9AE}" pid="5" name="MSIP_Label_39e0ea1b-66e3-485e-aa7a-7314a550a1e4_Owner">
    <vt:lpwstr>Klaas.dePater@ogd.nl</vt:lpwstr>
  </property>
  <property fmtid="{D5CDD505-2E9C-101B-9397-08002B2CF9AE}" pid="6" name="MSIP_Label_39e0ea1b-66e3-485e-aa7a-7314a550a1e4_SetDate">
    <vt:lpwstr>2020-09-10T12:59:27.0214889Z</vt:lpwstr>
  </property>
  <property fmtid="{D5CDD505-2E9C-101B-9397-08002B2CF9AE}" pid="7" name="MSIP_Label_39e0ea1b-66e3-485e-aa7a-7314a550a1e4_Name">
    <vt:lpwstr>General</vt:lpwstr>
  </property>
  <property fmtid="{D5CDD505-2E9C-101B-9397-08002B2CF9AE}" pid="8" name="MSIP_Label_39e0ea1b-66e3-485e-aa7a-7314a550a1e4_Application">
    <vt:lpwstr>Microsoft Azure Information Protection</vt:lpwstr>
  </property>
  <property fmtid="{D5CDD505-2E9C-101B-9397-08002B2CF9AE}" pid="9" name="MSIP_Label_39e0ea1b-66e3-485e-aa7a-7314a550a1e4_ActionId">
    <vt:lpwstr>b42995d4-2748-4cb3-ba34-f0c452a3dfc4</vt:lpwstr>
  </property>
  <property fmtid="{D5CDD505-2E9C-101B-9397-08002B2CF9AE}" pid="10" name="MSIP_Label_39e0ea1b-66e3-485e-aa7a-7314a550a1e4_Extended_MSFT_Method">
    <vt:lpwstr>Automatic</vt:lpwstr>
  </property>
  <property fmtid="{D5CDD505-2E9C-101B-9397-08002B2CF9AE}" pid="11" name="Sensitivity">
    <vt:lpwstr>General</vt:lpwstr>
  </property>
  <property fmtid="{D5CDD505-2E9C-101B-9397-08002B2CF9AE}" pid="12" name="ComplianceAssetId">
    <vt:lpwstr/>
  </property>
  <property fmtid="{D5CDD505-2E9C-101B-9397-08002B2CF9AE}" pid="13" name="_ExtendedDescription">
    <vt:lpwstr/>
  </property>
  <property fmtid="{D5CDD505-2E9C-101B-9397-08002B2CF9AE}" pid="14" name="TriggerFlowInfo">
    <vt:lpwstr/>
  </property>
  <property fmtid="{D5CDD505-2E9C-101B-9397-08002B2CF9AE}" pid="15" name="MediaServiceImageTags">
    <vt:lpwstr/>
  </property>
</Properties>
</file>